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1" r:id="rId5"/>
  </p:sldMasterIdLst>
  <p:notesMasterIdLst>
    <p:notesMasterId r:id="rId20"/>
  </p:notesMasterIdLst>
  <p:handoutMasterIdLst>
    <p:handoutMasterId r:id="rId21"/>
  </p:handoutMasterIdLst>
  <p:sldIdLst>
    <p:sldId id="256" r:id="rId6"/>
    <p:sldId id="2147377739" r:id="rId7"/>
    <p:sldId id="2147377801" r:id="rId8"/>
    <p:sldId id="2147377806" r:id="rId9"/>
    <p:sldId id="2147377800" r:id="rId10"/>
    <p:sldId id="2147377751" r:id="rId11"/>
    <p:sldId id="2147377786" r:id="rId12"/>
    <p:sldId id="2147377808" r:id="rId13"/>
    <p:sldId id="2147377807" r:id="rId14"/>
    <p:sldId id="2147377796" r:id="rId15"/>
    <p:sldId id="2147377798" r:id="rId16"/>
    <p:sldId id="2147377799" r:id="rId17"/>
    <p:sldId id="2147377784" r:id="rId18"/>
    <p:sldId id="5704" r:id="rId19"/>
  </p:sldIdLst>
  <p:sldSz cx="12192000" cy="6858000"/>
  <p:notesSz cx="6858000" cy="9144000"/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777" userDrawn="1">
          <p15:clr>
            <a:srgbClr val="A4A3A4"/>
          </p15:clr>
        </p15:guide>
        <p15:guide id="4" pos="370" userDrawn="1">
          <p15:clr>
            <a:srgbClr val="A4A3A4"/>
          </p15:clr>
        </p15:guide>
        <p15:guide id="5" orient="horz" pos="913" userDrawn="1">
          <p15:clr>
            <a:srgbClr val="A4A3A4"/>
          </p15:clr>
        </p15:guide>
        <p15:guide id="6" orient="horz" pos="482" userDrawn="1">
          <p15:clr>
            <a:srgbClr val="A4A3A4"/>
          </p15:clr>
        </p15:guide>
        <p15:guide id="7" orient="horz" pos="35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0243310-1C9E-37F8-A039-670BB7A7B9E5}" name="Selina Liu" initials="SL" userId="S::selina.liu@customerservice.nsw.gov.au::e87d98b3-7c3a-4020-900d-3bea16ceb5b7" providerId="AD"/>
  <p188:author id="{E68DBF29-173B-1EE4-E980-EBF86C79181A}" name="Editor" initials="Editor" userId="Editor" providerId="None"/>
  <p188:author id="{752BE82A-5498-9965-3B6C-B9EE3BF30B59}" name="Natasha Dervisevic" initials="ND" userId="S::natasha.dervisevic1@customerservice.nsw.gov.au::a45ce085-72d8-47c3-8743-c62d2401fecc" providerId="AD"/>
  <p188:author id="{3D96C141-F2EC-D866-D9AB-32D6D84424F6}" name="Natasha Dervisevic" initials="ND" userId="S::Natasha.Dervisevic1@customerservice.nsw.gov.au::a45ce085-72d8-47c3-8743-c62d2401fecc" providerId="AD"/>
  <p188:author id="{05DD5047-6AE1-2BA9-6A94-33D38EE0E37F}" name="Susan Wild" initials="SW" userId="S::susan.wild@customerservice.nsw.gov.au::20b0a9b6-6346-459e-a0ec-e8e3fb28653e" providerId="AD"/>
  <p188:author id="{F90D9652-FE79-F4E9-0D3D-F32E1B6609F5}" name="Kara Lawrence" initials="KL" userId="S::kara.lawrence@customerservice.nsw.gov.au::30fc6d3f-e1bb-4db7-bb11-31403e46e0b2" providerId="AD"/>
  <p188:author id="{B7827560-D5B6-F9D0-1B34-F3FDD591B43A}" name="Kate MULDOWNEY (Ministry of Health)" initials="KH" userId="S::kate.muldowney_health.nsw.gov.au#ext#@nswgov.onmicrosoft.com::2029787b-6c23-4b49-890c-0ea76c6130bb" providerId="AD"/>
  <p188:author id="{EE195E6B-C9AD-EBF7-806A-A354DD2B3A58}" name="Jodie Wrigley" initials="JW" userId="Jodie Wrigley" providerId="None"/>
  <p188:author id="{4E661F80-4947-9FC0-30B7-836D922AC26C}" name="Karina Fretwell (Ministry of Health)" initials="KH" userId="S::karina.fretwell_health.nsw.gov.au#ext#@nswgov.onmicrosoft.com::29d5c813-8046-4a63-809c-e6897c52cfee" providerId="AD"/>
  <p188:author id="{4B049387-3742-554C-518D-E1FA551E7ACD}" name="Sarah Ayache" initials="SA" userId="S::Sayache@senateshj.com.au::6d8bb6ca-f01f-4bf7-9e97-d66d96e8a281" providerId="AD"/>
  <p188:author id="{B1A9E4A4-D8E6-5FD8-0582-EEA3BA66C601}" name="Christine Worner" initials="CW" userId="S::christine.worner@customerservice.nsw.gov.au::c068ad7c-a3cd-417e-8d11-351cfec77e48" providerId="AD"/>
  <p188:author id="{4FB7B7A9-42CB-0D48-6543-04F5C3D407CA}" name="Caroline Leeming" initials="CL" userId="S::caroline_senateshj.com.au#ext#@nswgov.onmicrosoft.com::d6caddbf-8017-4f62-afe0-5a2ccd7846b3" providerId="AD"/>
  <p188:author id="{7EBF5CAA-F531-0E9D-9344-184193B180E1}" name="Rachael CLARKE (Ministry of Health)" initials="RH" userId="S::rachael.clarke1_health.nsw.gov.au#ext#@nswgov.onmicrosoft.com::e908a464-0eca-44fb-a8c8-b3640f24eac9" providerId="AD"/>
  <p188:author id="{32BD8AAA-769C-A216-4E23-75BB4E7E38A7}" name="Adam Shrosbree" initials="AS" userId="S::ashrosbree@kamber.com.au::bb33f6fe-ede1-4416-bdef-24f3ccd54919" providerId="AD"/>
  <p188:author id="{7A7C06AE-9D1F-FE79-0B7F-D8BCC1CD1F8E}" name="Caroline Leeming" initials="CL" userId="S::CLeeming@senateshj.com.au::e6e9b4a6-9476-48ba-ab27-ee299bb43606" providerId="AD"/>
  <p188:author id="{80CD5BB6-226A-A7B3-5D11-9F25478425A9}" name="Chloe Woodgate" initials="CW" userId="S::chloe.woodgate@customerservice.nsw.gov.au::adc51c57-5a6b-48ea-a4a6-bafe9e6fcaea" providerId="AD"/>
  <p188:author id="{7DE36FC1-FD58-4A42-D3A5-A6107900FBD7}" name="Susan Wild" initials="SW" userId="S::Susan.Wild@customerservice.nsw.gov.au::20b0a9b6-6346-459e-a0ec-e8e3fb28653e" providerId="AD"/>
  <p188:author id="{7E88A7DD-0A1F-C869-14F0-4545F72D1B70}" name="Madeleine Kastner" initials="MK" userId="S::MKastner@senateshj.com.au::76ec23af-c753-4980-8984-afc6d1b5860a" providerId="AD"/>
  <p188:author id="{298280ED-83B4-C6E9-7426-A1ED5EC83637}" name="AMANDA STEPHINSON (Ministry of Health)" initials="AH" userId="S::amanda.stephinson_health.nsw.gov.au#ext#@nswgov.onmicrosoft.com::f012534e-8b9a-4d97-96cf-3782b54611a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therine Shine (Ministry of Health)" initials="CH" lastIdx="10" clrIdx="0">
    <p:extLst>
      <p:ext uri="{19B8F6BF-5375-455C-9EA6-DF929625EA0E}">
        <p15:presenceInfo xmlns:p15="http://schemas.microsoft.com/office/powerpoint/2012/main" userId="S::catherine.shine_health.nsw.gov.au#ext#@nswgov.onmicrosoft.com::62e9ef66-2f36-435d-ab0e-75974f660041" providerId="AD"/>
      </p:ext>
    </p:extLst>
  </p:cmAuthor>
  <p:cmAuthor id="2" name="Lauren Smith" initials="LS" lastIdx="34" clrIdx="1">
    <p:extLst>
      <p:ext uri="{19B8F6BF-5375-455C-9EA6-DF929625EA0E}">
        <p15:presenceInfo xmlns:p15="http://schemas.microsoft.com/office/powerpoint/2012/main" userId="S::Lauren.Smith@customerservice.nsw.gov.au::d00a61e9-717f-4de6-b1ca-f87e381e40d0" providerId="AD"/>
      </p:ext>
    </p:extLst>
  </p:cmAuthor>
  <p:cmAuthor id="3" name="Caroline Leeming" initials="CL" lastIdx="105" clrIdx="2">
    <p:extLst>
      <p:ext uri="{19B8F6BF-5375-455C-9EA6-DF929625EA0E}">
        <p15:presenceInfo xmlns:p15="http://schemas.microsoft.com/office/powerpoint/2012/main" userId="S::CLeeming@senateshj.com.au::e6e9b4a6-9476-48ba-ab27-ee299bb43606" providerId="AD"/>
      </p:ext>
    </p:extLst>
  </p:cmAuthor>
  <p:cmAuthor id="4" name="Editor" initials="Editor" lastIdx="8" clrIdx="3">
    <p:extLst>
      <p:ext uri="{19B8F6BF-5375-455C-9EA6-DF929625EA0E}">
        <p15:presenceInfo xmlns:p15="http://schemas.microsoft.com/office/powerpoint/2012/main" userId="Editor" providerId="None"/>
      </p:ext>
    </p:extLst>
  </p:cmAuthor>
  <p:cmAuthor id="5" name="Chloe Woodgate" initials="CW" lastIdx="51" clrIdx="4">
    <p:extLst>
      <p:ext uri="{19B8F6BF-5375-455C-9EA6-DF929625EA0E}">
        <p15:presenceInfo xmlns:p15="http://schemas.microsoft.com/office/powerpoint/2012/main" userId="S::chloe.woodgate@customerservice.nsw.gov.au::adc51c57-5a6b-48ea-a4a6-bafe9e6fcaea" providerId="AD"/>
      </p:ext>
    </p:extLst>
  </p:cmAuthor>
  <p:cmAuthor id="6" name="Irena Kelava" initials="IK" lastIdx="4" clrIdx="5">
    <p:extLst>
      <p:ext uri="{19B8F6BF-5375-455C-9EA6-DF929625EA0E}">
        <p15:presenceInfo xmlns:p15="http://schemas.microsoft.com/office/powerpoint/2012/main" userId="S::Irena.Kelava@customerservice.nsw.gov.au::7a922577-a4c7-4446-8d28-52c7afad9375" providerId="AD"/>
      </p:ext>
    </p:extLst>
  </p:cmAuthor>
  <p:cmAuthor id="7" name="Rebecca Wickham" initials="RW" lastIdx="2" clrIdx="6">
    <p:extLst>
      <p:ext uri="{19B8F6BF-5375-455C-9EA6-DF929625EA0E}">
        <p15:presenceInfo xmlns:p15="http://schemas.microsoft.com/office/powerpoint/2012/main" userId="S::rebecca.wickham@customerservice.nsw.gov.au::65a18ad2-4973-4a17-9495-e29c44e6e9ef" providerId="AD"/>
      </p:ext>
    </p:extLst>
  </p:cmAuthor>
  <p:cmAuthor id="8" name="Vanessa Barrett" initials="VB" lastIdx="1" clrIdx="7">
    <p:extLst>
      <p:ext uri="{19B8F6BF-5375-455C-9EA6-DF929625EA0E}">
        <p15:presenceInfo xmlns:p15="http://schemas.microsoft.com/office/powerpoint/2012/main" userId="S::vanessa.barrett@customerservice.nsw.gov.au::86ab1923-f0b4-43d6-9c84-4c70e70cd13b" providerId="AD"/>
      </p:ext>
    </p:extLst>
  </p:cmAuthor>
  <p:cmAuthor id="9" name="Jessica Cooper" initials="JC" lastIdx="1" clrIdx="8">
    <p:extLst>
      <p:ext uri="{19B8F6BF-5375-455C-9EA6-DF929625EA0E}">
        <p15:presenceInfo xmlns:p15="http://schemas.microsoft.com/office/powerpoint/2012/main" userId="S::Jessica.Cooper@customerservice.nsw.gov.au::ae72c243-b9fb-4afd-83b4-5357fa8f0da5" providerId="AD"/>
      </p:ext>
    </p:extLst>
  </p:cmAuthor>
  <p:cmAuthor id="10" name="Isobel Scouler" initials="IS" lastIdx="7" clrIdx="9">
    <p:extLst>
      <p:ext uri="{19B8F6BF-5375-455C-9EA6-DF929625EA0E}">
        <p15:presenceInfo xmlns:p15="http://schemas.microsoft.com/office/powerpoint/2012/main" userId="S::Isobel.Scouler@customerservice.nsw.gov.au::67b95ebe-c015-4fa2-ad9c-585579fbe255" providerId="AD"/>
      </p:ext>
    </p:extLst>
  </p:cmAuthor>
  <p:cmAuthor id="11" name="Kelly Evans" initials="KE" lastIdx="3" clrIdx="10">
    <p:extLst>
      <p:ext uri="{19B8F6BF-5375-455C-9EA6-DF929625EA0E}">
        <p15:presenceInfo xmlns:p15="http://schemas.microsoft.com/office/powerpoint/2012/main" userId="S::Kelly.Evans@customerservice.nsw.gov.au::5589b779-9063-4981-8188-62ff3b71621e" providerId="AD"/>
      </p:ext>
    </p:extLst>
  </p:cmAuthor>
  <p:cmAuthor id="12" name="Nicole Douglas (Ministry of Health)" initials="ND(oH" lastIdx="23" clrIdx="11">
    <p:extLst>
      <p:ext uri="{19B8F6BF-5375-455C-9EA6-DF929625EA0E}">
        <p15:presenceInfo xmlns:p15="http://schemas.microsoft.com/office/powerpoint/2012/main" userId="S-1-5-21-1645522239-1647877149-682003330-816089" providerId="AD"/>
      </p:ext>
    </p:extLst>
  </p:cmAuthor>
  <p:cmAuthor id="13" name="Catherine Shine (Ministry of Health)" initials="CS(oH" lastIdx="11" clrIdx="12">
    <p:extLst>
      <p:ext uri="{19B8F6BF-5375-455C-9EA6-DF929625EA0E}">
        <p15:presenceInfo xmlns:p15="http://schemas.microsoft.com/office/powerpoint/2012/main" userId="S::Catherine.Shine@health.nsw.gov.au::edb218e9-1d6f-49cf-a0cb-7554d573e7c7" providerId="AD"/>
      </p:ext>
    </p:extLst>
  </p:cmAuthor>
  <p:cmAuthor id="14" name="Selina Liu" initials="SL" lastIdx="1" clrIdx="13">
    <p:extLst>
      <p:ext uri="{19B8F6BF-5375-455C-9EA6-DF929625EA0E}">
        <p15:presenceInfo xmlns:p15="http://schemas.microsoft.com/office/powerpoint/2012/main" userId="S::selina.liu@customerservice.nsw.gov.au::e87d98b3-7c3a-4020-900d-3bea16ceb5b7" providerId="AD"/>
      </p:ext>
    </p:extLst>
  </p:cmAuthor>
  <p:cmAuthor id="15" name="Natasha Dervisevic" initials="ND" lastIdx="2" clrIdx="14">
    <p:extLst>
      <p:ext uri="{19B8F6BF-5375-455C-9EA6-DF929625EA0E}">
        <p15:presenceInfo xmlns:p15="http://schemas.microsoft.com/office/powerpoint/2012/main" userId="S::natasha.dervisevic1@customerservice.nsw.gov.au::a45ce085-72d8-47c3-8743-c62d2401fecc" providerId="AD"/>
      </p:ext>
    </p:extLst>
  </p:cmAuthor>
  <p:cmAuthor id="16" name="AMANDA STEPHINSON (Ministry of Health)" initials="AH" lastIdx="1" clrIdx="15">
    <p:extLst>
      <p:ext uri="{19B8F6BF-5375-455C-9EA6-DF929625EA0E}">
        <p15:presenceInfo xmlns:p15="http://schemas.microsoft.com/office/powerpoint/2012/main" userId="S::amanda.stephinson_health.nsw.gov.au#ext#@nswgov.onmicrosoft.com::f012534e-8b9a-4d97-96cf-3782b54611ac" providerId="AD"/>
      </p:ext>
    </p:extLst>
  </p:cmAuthor>
  <p:cmAuthor id="17" name="Kate MULDOWNEY (Ministry of Health)" initials="KH" lastIdx="2" clrIdx="16">
    <p:extLst>
      <p:ext uri="{19B8F6BF-5375-455C-9EA6-DF929625EA0E}">
        <p15:presenceInfo xmlns:p15="http://schemas.microsoft.com/office/powerpoint/2012/main" userId="S::kate.muldowney_health.nsw.gov.au#ext#@nswgov.onmicrosoft.com::2029787b-6c23-4b49-890c-0ea76c6130bb" providerId="AD"/>
      </p:ext>
    </p:extLst>
  </p:cmAuthor>
  <p:cmAuthor id="18" name="James Lotherington" initials="JL" lastIdx="4" clrIdx="17">
    <p:extLst>
      <p:ext uri="{19B8F6BF-5375-455C-9EA6-DF929625EA0E}">
        <p15:presenceInfo xmlns:p15="http://schemas.microsoft.com/office/powerpoint/2012/main" userId="S::James.Lotherington@customerservice.nsw.gov.au::d0416d68-8be0-4ea1-8179-880970e76bb3" providerId="AD"/>
      </p:ext>
    </p:extLst>
  </p:cmAuthor>
  <p:cmAuthor id="19" name="Jodie Wrigley" initials="JW" lastIdx="1" clrIdx="18">
    <p:extLst>
      <p:ext uri="{19B8F6BF-5375-455C-9EA6-DF929625EA0E}">
        <p15:presenceInfo xmlns:p15="http://schemas.microsoft.com/office/powerpoint/2012/main" userId="Jodie Wrigle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EDFD"/>
    <a:srgbClr val="FFFFFF"/>
    <a:srgbClr val="EBEBEB"/>
    <a:srgbClr val="F3E2E6"/>
    <a:srgbClr val="630019"/>
    <a:srgbClr val="F6ACB6"/>
    <a:srgbClr val="D715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2222D3-B888-E274-89EF-F3494A36F177}" v="35" dt="2022-03-16T04:25:49.327"/>
    <p1510:client id="{47C9C8B7-9E34-8FF7-FB41-9E39F0770799}" v="151" dt="2022-03-16T21:55:53.597"/>
    <p1510:client id="{59993C21-7C30-06FB-6A79-22A6F90DBCCB}" v="3" dt="2022-03-18T05:16:32.533"/>
    <p1510:client id="{7BBAB94E-9F49-1ECC-67F8-2B1E5096B914}" v="84" dt="2022-03-16T04:18:38.025"/>
    <p1510:client id="{89CC1E46-98B8-6C41-62D9-D77DE15DB45C}" v="14" dt="2022-03-16T03:47:44.027"/>
    <p1510:client id="{8FA4B78B-9F8C-45F2-833A-D108D36E90ED}" v="1" vWet="4" dt="2022-03-16T03:15:50.085"/>
    <p1510:client id="{AFF87826-EAD0-2DD2-BD65-24F29E9AB966}" v="6" dt="2022-03-16T22:01:43.068"/>
    <p1510:client id="{B217DCB2-2998-BDA9-531F-655165FE47DF}" v="54" dt="2022-03-16T22:02:29.411"/>
    <p1510:client id="{B9B3A7AF-5168-9D28-3F39-2E5F3EC6F333}" v="33" dt="2022-03-16T03:24:06.124"/>
    <p1510:client id="{BA8EEDC7-3096-3B1F-53EB-234F7A5C62DE}" v="2" dt="2022-03-16T00:52:25.911"/>
    <p1510:client id="{C6446A8F-4554-29A6-1904-3A6252210E5E}" v="23" dt="2022-03-16T05:05:54.316"/>
    <p1510:client id="{D24EB01F-C432-4CD0-B012-13FD2D13B997}" vWet="2" dt="2022-03-18T05:15:44.693"/>
    <p1510:client id="{FF32059D-B95D-4A81-91AB-6745DC8B8D43}" v="340" dt="2022-03-16T03:34:06.1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08"/>
      </p:cViewPr>
      <p:guideLst>
        <p:guide orient="horz" pos="3362"/>
        <p:guide pos="3840"/>
        <p:guide orient="horz" pos="777"/>
        <p:guide pos="370"/>
        <p:guide orient="horz" pos="913"/>
        <p:guide orient="horz" pos="482"/>
        <p:guide orient="horz" pos="35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43F5A19-4E20-4EDB-9EC8-DF02AC748E7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2B4FC2-E151-470D-9291-01D2A5A6D34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BF4B7B-ADA4-42BE-A113-1D67CA67812F}" type="datetimeFigureOut">
              <a:rPr lang="en-AU" smtClean="0"/>
              <a:t>21/03/2022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07DE46-ED0B-49F3-8199-C129451A46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DA6684-5527-4DB9-88B5-C4F66FB5F78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AF8501-5769-46EC-B8B9-363B75FA999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4793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6F825C-382E-4C1A-82AB-BCE4AFD21ABE}" type="datetimeFigureOut">
              <a:rPr lang="en-AU" smtClean="0"/>
              <a:t>21/03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7158C4-A119-4B78-9DE8-A50001BC31D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01092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4D31D-F1DD-4629-BC69-5D1D53F073FB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46969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4D31D-F1DD-4629-BC69-5D1D53F073FB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97808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4D31D-F1DD-4629-BC69-5D1D53F073FB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22583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4D31D-F1DD-4629-BC69-5D1D53F073FB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74125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4D31D-F1DD-4629-BC69-5D1D53F073FB}" type="slidenum">
              <a:rPr lang="en-AU" smtClean="0"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621369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4D31D-F1DD-4629-BC69-5D1D53F073FB}" type="slidenum">
              <a:rPr lang="en-AU" smtClean="0"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621369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4D31D-F1DD-4629-BC69-5D1D53F073FB}" type="slidenum">
              <a:rPr lang="en-AU" smtClean="0"/>
              <a:t>1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05634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57A2D9F-61E4-43DD-AEE4-7DB03212C80F}"/>
              </a:ext>
            </a:extLst>
          </p:cNvPr>
          <p:cNvSpPr/>
          <p:nvPr userDrawn="1"/>
        </p:nvSpPr>
        <p:spPr>
          <a:xfrm>
            <a:off x="-1" y="0"/>
            <a:ext cx="12192001" cy="392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C1630E-75DD-4988-B412-5BC99B5B5062}"/>
              </a:ext>
            </a:extLst>
          </p:cNvPr>
          <p:cNvSpPr/>
          <p:nvPr userDrawn="1"/>
        </p:nvSpPr>
        <p:spPr>
          <a:xfrm>
            <a:off x="-1" y="3924000"/>
            <a:ext cx="12192001" cy="156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accent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0000" y="360000"/>
            <a:ext cx="10741897" cy="2387600"/>
          </a:xfrm>
          <a:ln>
            <a:noFill/>
          </a:ln>
        </p:spPr>
        <p:txBody>
          <a:bodyPr anchor="t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33BD13-5953-47AF-A601-951A768FED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000" y="4284000"/>
            <a:ext cx="2700000" cy="1089583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280053-307C-4D8A-BF45-7B6743FA55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4400" y="4284000"/>
            <a:ext cx="3600000" cy="108985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600" b="0">
                <a:solidFill>
                  <a:schemeClr val="bg1"/>
                </a:solidFill>
                <a:latin typeface="Public Sans SemiBold" pitchFamily="2" charset="0"/>
              </a:defRPr>
            </a:lvl1pPr>
            <a:lvl2pPr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B9A9D47-05D2-409D-A941-8374F9F8E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72000" y="4284000"/>
            <a:ext cx="2700000" cy="1089858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 marL="0" indent="0">
              <a:buNone/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9B807B7-CC07-4C79-849F-41D584D6BBC7}"/>
              </a:ext>
            </a:extLst>
          </p:cNvPr>
          <p:cNvCxnSpPr/>
          <p:nvPr userDrawn="1"/>
        </p:nvCxnSpPr>
        <p:spPr>
          <a:xfrm>
            <a:off x="360000" y="4104000"/>
            <a:ext cx="8532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B400A8E-928A-43DB-8723-796D9A555203}"/>
              </a:ext>
            </a:extLst>
          </p:cNvPr>
          <p:cNvCxnSpPr>
            <a:cxnSpLocks/>
          </p:cNvCxnSpPr>
          <p:nvPr userDrawn="1"/>
        </p:nvCxnSpPr>
        <p:spPr>
          <a:xfrm>
            <a:off x="9072000" y="4104000"/>
            <a:ext cx="2700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NSW Government logo">
            <a:extLst>
              <a:ext uri="{FF2B5EF4-FFF2-40B4-BE49-F238E27FC236}">
                <a16:creationId xmlns:a16="http://schemas.microsoft.com/office/drawing/2014/main" id="{1275AC60-D9B4-4746-B3F7-C112360E69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1200" y="5745600"/>
            <a:ext cx="630000" cy="68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565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800000"/>
            <a:ext cx="11473200" cy="4351339"/>
          </a:xfrm>
        </p:spPr>
        <p:txBody>
          <a:bodyPr numCol="2" spcCol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DEA8E5D-F9A7-48AC-AF91-6754515E9D1B}"/>
              </a:ext>
            </a:extLst>
          </p:cNvPr>
          <p:cNvCxnSpPr/>
          <p:nvPr userDrawn="1"/>
        </p:nvCxnSpPr>
        <p:spPr>
          <a:xfrm>
            <a:off x="360000" y="1548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8ABACDD-EEA1-4D7E-AF09-D231DF0AC4BA}"/>
              </a:ext>
            </a:extLst>
          </p:cNvPr>
          <p:cNvCxnSpPr/>
          <p:nvPr userDrawn="1"/>
        </p:nvCxnSpPr>
        <p:spPr>
          <a:xfrm>
            <a:off x="360000" y="6300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3723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box and 2 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9720000" cy="10096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20000" y="2340000"/>
            <a:ext cx="6612000" cy="3960000"/>
          </a:xfrm>
        </p:spPr>
        <p:txBody>
          <a:bodyPr numCol="2" spcCol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DEA8E5D-F9A7-48AC-AF91-6754515E9D1B}"/>
              </a:ext>
            </a:extLst>
          </p:cNvPr>
          <p:cNvCxnSpPr/>
          <p:nvPr userDrawn="1"/>
        </p:nvCxnSpPr>
        <p:spPr>
          <a:xfrm>
            <a:off x="360000" y="2160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728366C-8E0F-43D3-99CB-DE12D7F372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2340000"/>
            <a:ext cx="468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9994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pullout tex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DEA8E5D-F9A7-48AC-AF91-6754515E9D1B}"/>
              </a:ext>
            </a:extLst>
          </p:cNvPr>
          <p:cNvCxnSpPr/>
          <p:nvPr userDrawn="1"/>
        </p:nvCxnSpPr>
        <p:spPr>
          <a:xfrm>
            <a:off x="5220000" y="1800000"/>
            <a:ext cx="0" cy="453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16D7771-B92C-4B57-B3D3-8B15F5B968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04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FAB4FCE-5DFB-4423-ADC8-E6C79ABBED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0" y="1800225"/>
            <a:ext cx="6478588" cy="4185578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3600">
                <a:solidFill>
                  <a:schemeClr val="bg2"/>
                </a:solidFill>
                <a:latin typeface="+mn-lt"/>
              </a:defRPr>
            </a:lvl3pPr>
            <a:lvl4pPr>
              <a:defRPr sz="3600">
                <a:solidFill>
                  <a:schemeClr val="bg2"/>
                </a:solidFill>
                <a:latin typeface="+mn-lt"/>
              </a:defRPr>
            </a:lvl4pPr>
            <a:lvl5pPr>
              <a:defRPr sz="36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18B06DF-F3D5-44F7-AB62-30A2ED1F46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0" y="5926425"/>
            <a:ext cx="3567113" cy="409575"/>
          </a:xfrm>
        </p:spPr>
        <p:txBody>
          <a:bodyPr anchor="b">
            <a:norm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Image caption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893420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1800000"/>
            <a:ext cx="56160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6000" y="1800000"/>
            <a:ext cx="56160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7CC562-144A-4EC8-A68D-03DE6177D0F2}"/>
              </a:ext>
            </a:extLst>
          </p:cNvPr>
          <p:cNvCxnSpPr/>
          <p:nvPr userDrawn="1"/>
        </p:nvCxnSpPr>
        <p:spPr>
          <a:xfrm>
            <a:off x="360000" y="1548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2A67116-4454-462F-A3FD-DC94D36B8379}"/>
              </a:ext>
            </a:extLst>
          </p:cNvPr>
          <p:cNvCxnSpPr/>
          <p:nvPr userDrawn="1"/>
        </p:nvCxnSpPr>
        <p:spPr>
          <a:xfrm>
            <a:off x="360000" y="6300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6379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340000"/>
            <a:ext cx="5616000" cy="37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6002" y="2340000"/>
            <a:ext cx="5616000" cy="37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0A01DC5-1685-4615-8240-15192985C6A2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7CC562-144A-4EC8-A68D-03DE6177D0F2}"/>
              </a:ext>
            </a:extLst>
          </p:cNvPr>
          <p:cNvCxnSpPr/>
          <p:nvPr userDrawn="1"/>
        </p:nvCxnSpPr>
        <p:spPr>
          <a:xfrm>
            <a:off x="360000" y="2160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2A67116-4454-462F-A3FD-DC94D36B8379}"/>
              </a:ext>
            </a:extLst>
          </p:cNvPr>
          <p:cNvCxnSpPr/>
          <p:nvPr userDrawn="1"/>
        </p:nvCxnSpPr>
        <p:spPr>
          <a:xfrm>
            <a:off x="360000" y="6300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62768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, two column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2BBD760-6DEA-4064-8474-A197EF7B44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3E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36000" y="1748331"/>
            <a:ext cx="36720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7CC562-144A-4EC8-A68D-03DE6177D0F2}"/>
              </a:ext>
            </a:extLst>
          </p:cNvPr>
          <p:cNvCxnSpPr/>
          <p:nvPr userDrawn="1"/>
        </p:nvCxnSpPr>
        <p:spPr>
          <a:xfrm>
            <a:off x="360000" y="1548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2A67116-4454-462F-A3FD-DC94D36B8379}"/>
              </a:ext>
            </a:extLst>
          </p:cNvPr>
          <p:cNvCxnSpPr/>
          <p:nvPr userDrawn="1"/>
        </p:nvCxnSpPr>
        <p:spPr>
          <a:xfrm>
            <a:off x="360000" y="6300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BCA03EB-CF3D-4096-8D64-2420CB9A07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2772000"/>
            <a:ext cx="7560000" cy="3314895"/>
          </a:xfrm>
        </p:spPr>
        <p:txBody>
          <a:bodyPr numCol="2" spcCol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652EAB0-9BF3-42B8-9260-854C74B776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1749600"/>
            <a:ext cx="7560000" cy="90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Subheading</a:t>
            </a:r>
            <a:endParaRPr lang="en-AU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F79FF34-E700-48B3-9129-EB64DD6F10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1200" y="360000"/>
            <a:ext cx="630000" cy="68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2643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 box with three column text box and im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2BBD760-6DEA-4064-8474-A197EF7B44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00" y="6444000"/>
            <a:ext cx="6720000" cy="252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17458" y="6516000"/>
            <a:ext cx="490542" cy="1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0A01DC5-1685-4615-8240-15192985C6A2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7CC562-144A-4EC8-A68D-03DE6177D0F2}"/>
              </a:ext>
            </a:extLst>
          </p:cNvPr>
          <p:cNvCxnSpPr/>
          <p:nvPr userDrawn="1"/>
        </p:nvCxnSpPr>
        <p:spPr>
          <a:xfrm>
            <a:off x="360000" y="2160000"/>
            <a:ext cx="114732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BCA03EB-CF3D-4096-8D64-2420CB9A07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3600001"/>
            <a:ext cx="8532000" cy="2499670"/>
          </a:xfrm>
        </p:spPr>
        <p:txBody>
          <a:bodyPr numCol="3" spcCol="1800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652EAB0-9BF3-42B8-9260-854C74B776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2340000"/>
            <a:ext cx="8532000" cy="111600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Subheading</a:t>
            </a:r>
            <a:endParaRPr lang="en-A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815A714-98D5-4052-AB2F-14DD929CCC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72000" y="2340000"/>
            <a:ext cx="2736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1FB6CEC-BF4E-4B7E-BF6A-CACDC5381E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1200" y="360000"/>
            <a:ext cx="630000" cy="68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8998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aption at right ov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7CC562-144A-4EC8-A68D-03DE6177D0F2}"/>
              </a:ext>
            </a:extLst>
          </p:cNvPr>
          <p:cNvCxnSpPr>
            <a:cxnSpLocks/>
          </p:cNvCxnSpPr>
          <p:nvPr userDrawn="1"/>
        </p:nvCxnSpPr>
        <p:spPr>
          <a:xfrm>
            <a:off x="6192000" y="1576800"/>
            <a:ext cx="56587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BCA03EB-CF3D-4096-8D64-2420CB9A07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2000" y="2772000"/>
            <a:ext cx="5639998" cy="3314895"/>
          </a:xfrm>
        </p:spPr>
        <p:txBody>
          <a:bodyPr numCol="2" spcCol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652EAB0-9BF3-42B8-9260-854C74B776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87729" y="1749600"/>
            <a:ext cx="2744268" cy="900000"/>
          </a:xfrm>
        </p:spPr>
        <p:txBody>
          <a:bodyPr>
            <a:normAutofit/>
          </a:bodyPr>
          <a:lstStyle>
            <a:lvl1pPr>
              <a:defRPr sz="1000">
                <a:latin typeface="+mn-lt"/>
              </a:defRPr>
            </a:lvl1pPr>
          </a:lstStyle>
          <a:p>
            <a:pPr lvl="0"/>
            <a:r>
              <a:rPr lang="en-US"/>
              <a:t>Caption</a:t>
            </a:r>
            <a:endParaRPr lang="en-AU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55E9072-3A33-4C6D-A549-4A012107B65C}"/>
              </a:ext>
            </a:extLst>
          </p:cNvPr>
          <p:cNvCxnSpPr>
            <a:cxnSpLocks/>
          </p:cNvCxnSpPr>
          <p:nvPr userDrawn="1"/>
        </p:nvCxnSpPr>
        <p:spPr>
          <a:xfrm>
            <a:off x="6192000" y="6289476"/>
            <a:ext cx="56587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AA01239-4425-4D06-9E14-E14F3426FB3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576800"/>
            <a:ext cx="5976000" cy="4716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250978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2520000" cy="1009652"/>
          </a:xfrm>
        </p:spPr>
        <p:txBody>
          <a:bodyPr>
            <a:normAutofit/>
          </a:bodyPr>
          <a:lstStyle>
            <a:lvl1pPr>
              <a:defRPr sz="1600">
                <a:latin typeface="Public Sans Semi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BCA03EB-CF3D-4096-8D64-2420CB9A07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2002" y="360000"/>
            <a:ext cx="7560000" cy="5726895"/>
          </a:xfrm>
        </p:spPr>
        <p:txBody>
          <a:bodyPr numCol="1" spcCol="180000"/>
          <a:lstStyle>
            <a:lvl1pPr>
              <a:defRPr sz="3600"/>
            </a:lvl1pPr>
            <a:lvl2pPr>
              <a:defRPr sz="180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B8F80F-22E3-47D7-8D99-80BFFDFB35CD}"/>
              </a:ext>
            </a:extLst>
          </p:cNvPr>
          <p:cNvCxnSpPr>
            <a:cxnSpLocks/>
          </p:cNvCxnSpPr>
          <p:nvPr userDrawn="1"/>
        </p:nvCxnSpPr>
        <p:spPr>
          <a:xfrm>
            <a:off x="3096000" y="360000"/>
            <a:ext cx="0" cy="59760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87384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abov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165CECD-C00D-4560-9C97-AE28A8535867}"/>
              </a:ext>
            </a:extLst>
          </p:cNvPr>
          <p:cNvSpPr/>
          <p:nvPr userDrawn="1"/>
        </p:nvSpPr>
        <p:spPr>
          <a:xfrm>
            <a:off x="0" y="1602000"/>
            <a:ext cx="12192000" cy="5256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999" y="360000"/>
            <a:ext cx="7560000" cy="1009652"/>
          </a:xfrm>
        </p:spPr>
        <p:txBody>
          <a:bodyPr numCol="2" spcCol="180000">
            <a:normAutofit/>
          </a:bodyPr>
          <a:lstStyle>
            <a:lvl1pPr>
              <a:defRPr sz="1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F21707E-ED45-4C2A-9328-C747C8E2B09F}"/>
              </a:ext>
            </a:extLst>
          </p:cNvPr>
          <p:cNvCxnSpPr/>
          <p:nvPr userDrawn="1"/>
        </p:nvCxnSpPr>
        <p:spPr>
          <a:xfrm>
            <a:off x="360000" y="6300000"/>
            <a:ext cx="11473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AB6FE45-2247-43AE-AFB0-3C1EC574D8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57000" y="1611825"/>
            <a:ext cx="8478000" cy="46881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488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7081598-8EF9-4067-828C-DA3306F3936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306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7A2D9F-61E4-43DD-AEE4-7DB03212C80F}"/>
              </a:ext>
            </a:extLst>
          </p:cNvPr>
          <p:cNvSpPr/>
          <p:nvPr userDrawn="1"/>
        </p:nvSpPr>
        <p:spPr>
          <a:xfrm>
            <a:off x="3060000" y="0"/>
            <a:ext cx="777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1"/>
              </a:solidFill>
              <a:latin typeface="Public Sans SemiBold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9998" y="359999"/>
            <a:ext cx="6964836" cy="2917763"/>
          </a:xfrm>
          <a:ln>
            <a:noFill/>
          </a:ln>
        </p:spPr>
        <p:txBody>
          <a:bodyPr anchor="t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33BD13-5953-47AF-A601-951A768FED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9999" y="4403188"/>
            <a:ext cx="5135997" cy="1176813"/>
          </a:xfrm>
        </p:spPr>
        <p:txBody>
          <a:bodyPr anchor="b"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280053-307C-4D8A-BF45-7B6743FA55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0" y="5940000"/>
            <a:ext cx="3600000" cy="55800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Public Sans SemiBold" pitchFamily="2" charset="0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B9A9D47-05D2-409D-A941-8374F9F8E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64834" y="5781821"/>
            <a:ext cx="2700000" cy="744977"/>
          </a:xfrm>
        </p:spPr>
        <p:txBody>
          <a:bodyPr anchor="b">
            <a:noAutofit/>
          </a:bodyPr>
          <a:lstStyle>
            <a:lvl1pPr algn="r"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 marL="0" indent="0">
              <a:buNone/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 Month YY20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B400A8E-928A-43DB-8723-796D9A555203}"/>
              </a:ext>
            </a:extLst>
          </p:cNvPr>
          <p:cNvCxnSpPr>
            <a:cxnSpLocks/>
          </p:cNvCxnSpPr>
          <p:nvPr userDrawn="1"/>
        </p:nvCxnSpPr>
        <p:spPr>
          <a:xfrm>
            <a:off x="3456000" y="388136"/>
            <a:ext cx="0" cy="6012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218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 with 4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E5D367-3ECD-4D95-8593-6E37E7633C61}"/>
              </a:ext>
            </a:extLst>
          </p:cNvPr>
          <p:cNvSpPr/>
          <p:nvPr userDrawn="1"/>
        </p:nvSpPr>
        <p:spPr>
          <a:xfrm>
            <a:off x="0" y="1584000"/>
            <a:ext cx="12192000" cy="525600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2A67116-4454-462F-A3FD-DC94D36B8379}"/>
              </a:ext>
            </a:extLst>
          </p:cNvPr>
          <p:cNvCxnSpPr/>
          <p:nvPr userDrawn="1"/>
        </p:nvCxnSpPr>
        <p:spPr>
          <a:xfrm>
            <a:off x="360000" y="6300000"/>
            <a:ext cx="11473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30AEF18-0048-410F-AB0A-6EBF9EE73C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1728000"/>
            <a:ext cx="2736000" cy="441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9CE6DB5-6EC9-4FCA-8E33-1569637E9B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2345" y="1728788"/>
            <a:ext cx="1944000" cy="2016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6A0EE890-674F-4513-9B6E-9E8A4D4EE2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0000" y="4120295"/>
            <a:ext cx="1944000" cy="2016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E5F3C85-5357-43EC-A1C1-36604BBB1AF2}"/>
              </a:ext>
            </a:extLst>
          </p:cNvPr>
          <p:cNvCxnSpPr/>
          <p:nvPr userDrawn="1"/>
        </p:nvCxnSpPr>
        <p:spPr>
          <a:xfrm>
            <a:off x="3259354" y="1728000"/>
            <a:ext cx="0" cy="44082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8057F61-0899-4B7C-BD2B-3738152A2B7E}"/>
              </a:ext>
            </a:extLst>
          </p:cNvPr>
          <p:cNvCxnSpPr>
            <a:cxnSpLocks/>
          </p:cNvCxnSpPr>
          <p:nvPr userDrawn="1"/>
        </p:nvCxnSpPr>
        <p:spPr>
          <a:xfrm flipH="1">
            <a:off x="3420000" y="3929035"/>
            <a:ext cx="19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C90CB6B-A391-4BF9-8C5A-B72CA862E5A9}"/>
              </a:ext>
            </a:extLst>
          </p:cNvPr>
          <p:cNvCxnSpPr/>
          <p:nvPr userDrawn="1"/>
        </p:nvCxnSpPr>
        <p:spPr>
          <a:xfrm>
            <a:off x="5529336" y="1728000"/>
            <a:ext cx="0" cy="44082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0242911-8827-4F09-B4C0-F5B40262A31E}"/>
              </a:ext>
            </a:extLst>
          </p:cNvPr>
          <p:cNvCxnSpPr/>
          <p:nvPr userDrawn="1"/>
        </p:nvCxnSpPr>
        <p:spPr>
          <a:xfrm>
            <a:off x="8375318" y="1728000"/>
            <a:ext cx="0" cy="44082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9F3CABFF-021D-4DB0-B816-0E2C407AA39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92327" y="2103123"/>
            <a:ext cx="2520000" cy="4053202"/>
          </a:xfrm>
        </p:spPr>
        <p:txBody>
          <a:bodyPr/>
          <a:lstStyle>
            <a:lvl1pPr>
              <a:defRPr sz="1200">
                <a:latin typeface="Public Sans SemiBold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8" name="Content Placeholder 26">
            <a:extLst>
              <a:ext uri="{FF2B5EF4-FFF2-40B4-BE49-F238E27FC236}">
                <a16:creationId xmlns:a16="http://schemas.microsoft.com/office/drawing/2014/main" id="{F3D2FA77-52F3-471B-A291-EED89A0DE68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538308" y="2103123"/>
            <a:ext cx="3269692" cy="4053202"/>
          </a:xfrm>
        </p:spPr>
        <p:txBody>
          <a:bodyPr/>
          <a:lstStyle>
            <a:lvl1pPr>
              <a:defRPr sz="1200">
                <a:latin typeface="Public Sans SemiBold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EA4CE82D-B1F3-42D5-BFC4-5FF9241B02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944345" y="2286788"/>
            <a:ext cx="900000" cy="9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31" name="Picture Placeholder 29">
            <a:extLst>
              <a:ext uri="{FF2B5EF4-FFF2-40B4-BE49-F238E27FC236}">
                <a16:creationId xmlns:a16="http://schemas.microsoft.com/office/drawing/2014/main" id="{FD821410-29F3-4DF7-B1BB-8609C9096EE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2000" y="4678295"/>
            <a:ext cx="900000" cy="9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77997327-1253-41DB-B0DD-0A414715E9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7236" y="1728788"/>
            <a:ext cx="2520000" cy="374332"/>
          </a:xfrm>
        </p:spPr>
        <p:txBody>
          <a:bodyPr/>
          <a:lstStyle>
            <a:lvl1pPr>
              <a:defRPr sz="1200">
                <a:latin typeface="Public Sans SemiBold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Heading here</a:t>
            </a:r>
            <a:endParaRPr lang="en-AU"/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6A7A3DE4-B76A-4DA3-9340-FFAA6B8830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28459" y="1728788"/>
            <a:ext cx="3303177" cy="374332"/>
          </a:xfrm>
        </p:spPr>
        <p:txBody>
          <a:bodyPr/>
          <a:lstStyle>
            <a:lvl1pPr>
              <a:defRPr sz="1200">
                <a:latin typeface="Public Sans SemiBold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Heading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91368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wo multi-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9531360" cy="10096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27999" y="1728000"/>
            <a:ext cx="4679995" cy="22216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28000" y="4093697"/>
            <a:ext cx="4679994" cy="19483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2A67116-4454-462F-A3FD-DC94D36B8379}"/>
              </a:ext>
            </a:extLst>
          </p:cNvPr>
          <p:cNvCxnSpPr/>
          <p:nvPr userDrawn="1"/>
        </p:nvCxnSpPr>
        <p:spPr>
          <a:xfrm>
            <a:off x="360000" y="360000"/>
            <a:ext cx="0" cy="595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1EC6F40-A8A0-4128-90D0-E467B30278D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9750" y="1728788"/>
            <a:ext cx="6229350" cy="4536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0EAFF04E-EED2-4901-9136-39CEC8DFA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7999" y="6173999"/>
            <a:ext cx="4703999" cy="180000"/>
          </a:xfrm>
        </p:spPr>
        <p:txBody>
          <a:bodyPr>
            <a:normAutofit/>
          </a:bodyPr>
          <a:lstStyle>
            <a:lvl1pPr>
              <a:defRPr sz="1000">
                <a:latin typeface="+mn-lt"/>
              </a:defRPr>
            </a:lvl1pPr>
          </a:lstStyle>
          <a:p>
            <a:pPr lvl="0"/>
            <a:r>
              <a:rPr lang="en-US"/>
              <a:t>Figure</a:t>
            </a:r>
            <a:endParaRPr lang="en-AU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2CE467A-6B5B-43F6-973F-516915856717}"/>
              </a:ext>
            </a:extLst>
          </p:cNvPr>
          <p:cNvCxnSpPr>
            <a:cxnSpLocks/>
          </p:cNvCxnSpPr>
          <p:nvPr userDrawn="1"/>
        </p:nvCxnSpPr>
        <p:spPr>
          <a:xfrm>
            <a:off x="6948000" y="1728000"/>
            <a:ext cx="0" cy="459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3696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 with support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9720000" cy="10096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2A67116-4454-462F-A3FD-DC94D36B8379}"/>
              </a:ext>
            </a:extLst>
          </p:cNvPr>
          <p:cNvCxnSpPr/>
          <p:nvPr userDrawn="1"/>
        </p:nvCxnSpPr>
        <p:spPr>
          <a:xfrm>
            <a:off x="360000" y="360000"/>
            <a:ext cx="0" cy="595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2CE467A-6B5B-43F6-973F-516915856717}"/>
              </a:ext>
            </a:extLst>
          </p:cNvPr>
          <p:cNvCxnSpPr>
            <a:cxnSpLocks/>
          </p:cNvCxnSpPr>
          <p:nvPr userDrawn="1"/>
        </p:nvCxnSpPr>
        <p:spPr>
          <a:xfrm>
            <a:off x="8928000" y="3330000"/>
            <a:ext cx="0" cy="29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D7E1CAC4-88FF-4E85-8A37-9D1F4A8514EE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539750" y="1554163"/>
            <a:ext cx="7560000" cy="3938587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0F4F51DE-C82F-4C69-9901-7D4EF2CBE8D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9115425" y="3330000"/>
            <a:ext cx="2716213" cy="21627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D3768AF-49AB-464E-9DF6-68376B8AC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9750" y="5627688"/>
            <a:ext cx="7560000" cy="6905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>
                <a:latin typeface="Public Sans SemiBold" pitchFamily="2" charset="0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latin typeface="+mn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A94C0C8-30F5-4B00-BC99-C6DFC381A6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123533" y="5627688"/>
            <a:ext cx="2716213" cy="6905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>
                <a:latin typeface="Public Sans SemiBold" pitchFamily="2" charset="0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latin typeface="+mn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12596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999" y="1800000"/>
            <a:ext cx="5400000" cy="540000"/>
          </a:xfrm>
        </p:spPr>
        <p:txBody>
          <a:bodyPr anchor="t"/>
          <a:lstStyle>
            <a:lvl1pPr marL="0" indent="0"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9999" y="2340000"/>
            <a:ext cx="5400000" cy="3960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8000" y="1800000"/>
            <a:ext cx="5400000" cy="540000"/>
          </a:xfrm>
        </p:spPr>
        <p:txBody>
          <a:bodyPr anchor="t"/>
          <a:lstStyle>
            <a:lvl1pPr marL="0" indent="0"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08000" y="2340000"/>
            <a:ext cx="5400000" cy="3960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1A3F1C1-3AA5-49E1-9481-3B7111F85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9720000" cy="100965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70612CD-1BF1-42B5-8546-A674A0B86640}"/>
              </a:ext>
            </a:extLst>
          </p:cNvPr>
          <p:cNvCxnSpPr/>
          <p:nvPr userDrawn="1"/>
        </p:nvCxnSpPr>
        <p:spPr>
          <a:xfrm>
            <a:off x="360000" y="1548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1276FF-A829-4228-B12D-1EEE42C2AB11}"/>
              </a:ext>
            </a:extLst>
          </p:cNvPr>
          <p:cNvCxnSpPr/>
          <p:nvPr userDrawn="1"/>
        </p:nvCxnSpPr>
        <p:spPr>
          <a:xfrm>
            <a:off x="360000" y="6300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59563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668512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97023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roup 106">
            <a:extLst>
              <a:ext uri="{FF2B5EF4-FFF2-40B4-BE49-F238E27FC236}">
                <a16:creationId xmlns:a16="http://schemas.microsoft.com/office/drawing/2014/main" id="{7E828B34-A004-5745-B268-3FF2AD81E97A}"/>
              </a:ext>
            </a:extLst>
          </p:cNvPr>
          <p:cNvGrpSpPr/>
          <p:nvPr/>
        </p:nvGrpSpPr>
        <p:grpSpPr>
          <a:xfrm>
            <a:off x="5426422" y="4075538"/>
            <a:ext cx="1321973" cy="137693"/>
            <a:chOff x="3981864" y="4075538"/>
            <a:chExt cx="1321973" cy="137693"/>
          </a:xfrm>
          <a:effectLst>
            <a:reflection endPos="0" dir="5400000" sy="-100000" algn="bl" rotWithShape="0"/>
          </a:effectLst>
        </p:grpSpPr>
        <p:sp>
          <p:nvSpPr>
            <p:cNvPr id="108" name="Freeform 22">
              <a:extLst>
                <a:ext uri="{FF2B5EF4-FFF2-40B4-BE49-F238E27FC236}">
                  <a16:creationId xmlns:a16="http://schemas.microsoft.com/office/drawing/2014/main" id="{6F7C7CA7-66E7-7F4B-AA52-D6E815B9D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864" y="4075538"/>
              <a:ext cx="124094" cy="137693"/>
            </a:xfrm>
            <a:custGeom>
              <a:avLst/>
              <a:gdLst>
                <a:gd name="T0" fmla="*/ 0 w 125"/>
                <a:gd name="T1" fmla="*/ 70 h 139"/>
                <a:gd name="T2" fmla="*/ 0 w 125"/>
                <a:gd name="T3" fmla="*/ 69 h 139"/>
                <a:gd name="T4" fmla="*/ 68 w 125"/>
                <a:gd name="T5" fmla="*/ 0 h 139"/>
                <a:gd name="T6" fmla="*/ 120 w 125"/>
                <a:gd name="T7" fmla="*/ 19 h 139"/>
                <a:gd name="T8" fmla="*/ 105 w 125"/>
                <a:gd name="T9" fmla="*/ 36 h 139"/>
                <a:gd name="T10" fmla="*/ 67 w 125"/>
                <a:gd name="T11" fmla="*/ 22 h 139"/>
                <a:gd name="T12" fmla="*/ 24 w 125"/>
                <a:gd name="T13" fmla="*/ 69 h 139"/>
                <a:gd name="T14" fmla="*/ 24 w 125"/>
                <a:gd name="T15" fmla="*/ 69 h 139"/>
                <a:gd name="T16" fmla="*/ 70 w 125"/>
                <a:gd name="T17" fmla="*/ 117 h 139"/>
                <a:gd name="T18" fmla="*/ 102 w 125"/>
                <a:gd name="T19" fmla="*/ 107 h 139"/>
                <a:gd name="T20" fmla="*/ 102 w 125"/>
                <a:gd name="T21" fmla="*/ 82 h 139"/>
                <a:gd name="T22" fmla="*/ 68 w 125"/>
                <a:gd name="T23" fmla="*/ 82 h 139"/>
                <a:gd name="T24" fmla="*/ 68 w 125"/>
                <a:gd name="T25" fmla="*/ 62 h 139"/>
                <a:gd name="T26" fmla="*/ 125 w 125"/>
                <a:gd name="T27" fmla="*/ 62 h 139"/>
                <a:gd name="T28" fmla="*/ 125 w 125"/>
                <a:gd name="T29" fmla="*/ 118 h 139"/>
                <a:gd name="T30" fmla="*/ 69 w 125"/>
                <a:gd name="T31" fmla="*/ 139 h 139"/>
                <a:gd name="T32" fmla="*/ 0 w 125"/>
                <a:gd name="T33" fmla="*/ 7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39">
                  <a:moveTo>
                    <a:pt x="0" y="7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0" y="32"/>
                    <a:pt x="28" y="0"/>
                    <a:pt x="68" y="0"/>
                  </a:cubicBezTo>
                  <a:cubicBezTo>
                    <a:pt x="92" y="0"/>
                    <a:pt x="106" y="7"/>
                    <a:pt x="120" y="19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95" y="27"/>
                    <a:pt x="84" y="22"/>
                    <a:pt x="67" y="22"/>
                  </a:cubicBezTo>
                  <a:cubicBezTo>
                    <a:pt x="43" y="22"/>
                    <a:pt x="24" y="43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97"/>
                    <a:pt x="42" y="117"/>
                    <a:pt x="70" y="117"/>
                  </a:cubicBezTo>
                  <a:cubicBezTo>
                    <a:pt x="82" y="117"/>
                    <a:pt x="94" y="113"/>
                    <a:pt x="102" y="107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68" y="82"/>
                    <a:pt x="68" y="82"/>
                    <a:pt x="68" y="82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5" y="118"/>
                    <a:pt x="125" y="118"/>
                    <a:pt x="125" y="118"/>
                  </a:cubicBezTo>
                  <a:cubicBezTo>
                    <a:pt x="111" y="129"/>
                    <a:pt x="92" y="139"/>
                    <a:pt x="69" y="139"/>
                  </a:cubicBezTo>
                  <a:cubicBezTo>
                    <a:pt x="27" y="139"/>
                    <a:pt x="0" y="109"/>
                    <a:pt x="0" y="7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23">
              <a:extLst>
                <a:ext uri="{FF2B5EF4-FFF2-40B4-BE49-F238E27FC236}">
                  <a16:creationId xmlns:a16="http://schemas.microsoft.com/office/drawing/2014/main" id="{4B4D3777-EEF8-B84E-B85C-A16E3F2490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9559" y="4075538"/>
              <a:ext cx="137693" cy="137693"/>
            </a:xfrm>
            <a:custGeom>
              <a:avLst/>
              <a:gdLst>
                <a:gd name="T0" fmla="*/ 115 w 139"/>
                <a:gd name="T1" fmla="*/ 70 h 139"/>
                <a:gd name="T2" fmla="*/ 115 w 139"/>
                <a:gd name="T3" fmla="*/ 69 h 139"/>
                <a:gd name="T4" fmla="*/ 69 w 139"/>
                <a:gd name="T5" fmla="*/ 22 h 139"/>
                <a:gd name="T6" fmla="*/ 24 w 139"/>
                <a:gd name="T7" fmla="*/ 69 h 139"/>
                <a:gd name="T8" fmla="*/ 24 w 139"/>
                <a:gd name="T9" fmla="*/ 69 h 139"/>
                <a:gd name="T10" fmla="*/ 70 w 139"/>
                <a:gd name="T11" fmla="*/ 117 h 139"/>
                <a:gd name="T12" fmla="*/ 115 w 139"/>
                <a:gd name="T13" fmla="*/ 70 h 139"/>
                <a:gd name="T14" fmla="*/ 0 w 139"/>
                <a:gd name="T15" fmla="*/ 70 h 139"/>
                <a:gd name="T16" fmla="*/ 0 w 139"/>
                <a:gd name="T17" fmla="*/ 69 h 139"/>
                <a:gd name="T18" fmla="*/ 70 w 139"/>
                <a:gd name="T19" fmla="*/ 0 h 139"/>
                <a:gd name="T20" fmla="*/ 139 w 139"/>
                <a:gd name="T21" fmla="*/ 69 h 139"/>
                <a:gd name="T22" fmla="*/ 139 w 139"/>
                <a:gd name="T23" fmla="*/ 69 h 139"/>
                <a:gd name="T24" fmla="*/ 69 w 139"/>
                <a:gd name="T25" fmla="*/ 139 h 139"/>
                <a:gd name="T26" fmla="*/ 0 w 139"/>
                <a:gd name="T27" fmla="*/ 7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9" h="139">
                  <a:moveTo>
                    <a:pt x="115" y="70"/>
                  </a:moveTo>
                  <a:cubicBezTo>
                    <a:pt x="115" y="69"/>
                    <a:pt x="115" y="69"/>
                    <a:pt x="115" y="69"/>
                  </a:cubicBezTo>
                  <a:cubicBezTo>
                    <a:pt x="115" y="43"/>
                    <a:pt x="96" y="22"/>
                    <a:pt x="69" y="22"/>
                  </a:cubicBezTo>
                  <a:cubicBezTo>
                    <a:pt x="43" y="22"/>
                    <a:pt x="24" y="43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95"/>
                    <a:pt x="43" y="117"/>
                    <a:pt x="70" y="117"/>
                  </a:cubicBezTo>
                  <a:cubicBezTo>
                    <a:pt x="96" y="117"/>
                    <a:pt x="115" y="96"/>
                    <a:pt x="115" y="70"/>
                  </a:cubicBezTo>
                  <a:moveTo>
                    <a:pt x="0" y="7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0" y="32"/>
                    <a:pt x="29" y="0"/>
                    <a:pt x="70" y="0"/>
                  </a:cubicBezTo>
                  <a:cubicBezTo>
                    <a:pt x="111" y="0"/>
                    <a:pt x="139" y="31"/>
                    <a:pt x="139" y="69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107"/>
                    <a:pt x="110" y="139"/>
                    <a:pt x="69" y="139"/>
                  </a:cubicBezTo>
                  <a:cubicBezTo>
                    <a:pt x="28" y="139"/>
                    <a:pt x="0" y="107"/>
                    <a:pt x="0" y="7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24">
              <a:extLst>
                <a:ext uri="{FF2B5EF4-FFF2-40B4-BE49-F238E27FC236}">
                  <a16:creationId xmlns:a16="http://schemas.microsoft.com/office/drawing/2014/main" id="{CAF61CEF-CE3C-8749-B086-CCF227581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6116" y="4078369"/>
              <a:ext cx="129761" cy="133159"/>
            </a:xfrm>
            <a:custGeom>
              <a:avLst/>
              <a:gdLst>
                <a:gd name="T0" fmla="*/ 0 w 229"/>
                <a:gd name="T1" fmla="*/ 0 h 235"/>
                <a:gd name="T2" fmla="*/ 44 w 229"/>
                <a:gd name="T3" fmla="*/ 0 h 235"/>
                <a:gd name="T4" fmla="*/ 115 w 229"/>
                <a:gd name="T5" fmla="*/ 179 h 235"/>
                <a:gd name="T6" fmla="*/ 185 w 229"/>
                <a:gd name="T7" fmla="*/ 0 h 235"/>
                <a:gd name="T8" fmla="*/ 229 w 229"/>
                <a:gd name="T9" fmla="*/ 0 h 235"/>
                <a:gd name="T10" fmla="*/ 133 w 229"/>
                <a:gd name="T11" fmla="*/ 235 h 235"/>
                <a:gd name="T12" fmla="*/ 96 w 229"/>
                <a:gd name="T13" fmla="*/ 235 h 235"/>
                <a:gd name="T14" fmla="*/ 0 w 229"/>
                <a:gd name="T1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235">
                  <a:moveTo>
                    <a:pt x="0" y="0"/>
                  </a:moveTo>
                  <a:lnTo>
                    <a:pt x="44" y="0"/>
                  </a:lnTo>
                  <a:lnTo>
                    <a:pt x="115" y="179"/>
                  </a:lnTo>
                  <a:lnTo>
                    <a:pt x="185" y="0"/>
                  </a:lnTo>
                  <a:lnTo>
                    <a:pt x="229" y="0"/>
                  </a:lnTo>
                  <a:lnTo>
                    <a:pt x="133" y="235"/>
                  </a:lnTo>
                  <a:lnTo>
                    <a:pt x="96" y="2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25">
              <a:extLst>
                <a:ext uri="{FF2B5EF4-FFF2-40B4-BE49-F238E27FC236}">
                  <a16:creationId xmlns:a16="http://schemas.microsoft.com/office/drawing/2014/main" id="{B0B5E16A-EFC4-6A4B-A716-9AEA2F478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1746" y="4078369"/>
              <a:ext cx="98595" cy="132029"/>
            </a:xfrm>
            <a:custGeom>
              <a:avLst/>
              <a:gdLst>
                <a:gd name="T0" fmla="*/ 0 w 174"/>
                <a:gd name="T1" fmla="*/ 0 h 233"/>
                <a:gd name="T2" fmla="*/ 173 w 174"/>
                <a:gd name="T3" fmla="*/ 0 h 233"/>
                <a:gd name="T4" fmla="*/ 173 w 174"/>
                <a:gd name="T5" fmla="*/ 37 h 233"/>
                <a:gd name="T6" fmla="*/ 40 w 174"/>
                <a:gd name="T7" fmla="*/ 37 h 233"/>
                <a:gd name="T8" fmla="*/ 40 w 174"/>
                <a:gd name="T9" fmla="*/ 96 h 233"/>
                <a:gd name="T10" fmla="*/ 157 w 174"/>
                <a:gd name="T11" fmla="*/ 96 h 233"/>
                <a:gd name="T12" fmla="*/ 157 w 174"/>
                <a:gd name="T13" fmla="*/ 133 h 233"/>
                <a:gd name="T14" fmla="*/ 40 w 174"/>
                <a:gd name="T15" fmla="*/ 133 h 233"/>
                <a:gd name="T16" fmla="*/ 40 w 174"/>
                <a:gd name="T17" fmla="*/ 196 h 233"/>
                <a:gd name="T18" fmla="*/ 174 w 174"/>
                <a:gd name="T19" fmla="*/ 196 h 233"/>
                <a:gd name="T20" fmla="*/ 174 w 174"/>
                <a:gd name="T21" fmla="*/ 233 h 233"/>
                <a:gd name="T22" fmla="*/ 0 w 174"/>
                <a:gd name="T23" fmla="*/ 233 h 233"/>
                <a:gd name="T24" fmla="*/ 0 w 174"/>
                <a:gd name="T25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233">
                  <a:moveTo>
                    <a:pt x="0" y="0"/>
                  </a:moveTo>
                  <a:lnTo>
                    <a:pt x="173" y="0"/>
                  </a:lnTo>
                  <a:lnTo>
                    <a:pt x="173" y="37"/>
                  </a:lnTo>
                  <a:lnTo>
                    <a:pt x="40" y="37"/>
                  </a:lnTo>
                  <a:lnTo>
                    <a:pt x="40" y="96"/>
                  </a:lnTo>
                  <a:lnTo>
                    <a:pt x="157" y="96"/>
                  </a:lnTo>
                  <a:lnTo>
                    <a:pt x="157" y="133"/>
                  </a:lnTo>
                  <a:lnTo>
                    <a:pt x="40" y="133"/>
                  </a:lnTo>
                  <a:lnTo>
                    <a:pt x="40" y="196"/>
                  </a:lnTo>
                  <a:lnTo>
                    <a:pt x="174" y="196"/>
                  </a:lnTo>
                  <a:lnTo>
                    <a:pt x="174" y="233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26">
              <a:extLst>
                <a:ext uri="{FF2B5EF4-FFF2-40B4-BE49-F238E27FC236}">
                  <a16:creationId xmlns:a16="http://schemas.microsoft.com/office/drawing/2014/main" id="{04A08AC9-F30D-6444-881F-8A3E2B9AE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3572" y="4078369"/>
              <a:ext cx="111628" cy="132029"/>
            </a:xfrm>
            <a:custGeom>
              <a:avLst/>
              <a:gdLst>
                <a:gd name="T0" fmla="*/ 57 w 113"/>
                <a:gd name="T1" fmla="*/ 66 h 133"/>
                <a:gd name="T2" fmla="*/ 85 w 113"/>
                <a:gd name="T3" fmla="*/ 44 h 133"/>
                <a:gd name="T4" fmla="*/ 85 w 113"/>
                <a:gd name="T5" fmla="*/ 43 h 133"/>
                <a:gd name="T6" fmla="*/ 57 w 113"/>
                <a:gd name="T7" fmla="*/ 21 h 133"/>
                <a:gd name="T8" fmla="*/ 23 w 113"/>
                <a:gd name="T9" fmla="*/ 21 h 133"/>
                <a:gd name="T10" fmla="*/ 23 w 113"/>
                <a:gd name="T11" fmla="*/ 66 h 133"/>
                <a:gd name="T12" fmla="*/ 57 w 113"/>
                <a:gd name="T13" fmla="*/ 66 h 133"/>
                <a:gd name="T14" fmla="*/ 0 w 113"/>
                <a:gd name="T15" fmla="*/ 0 h 133"/>
                <a:gd name="T16" fmla="*/ 59 w 113"/>
                <a:gd name="T17" fmla="*/ 0 h 133"/>
                <a:gd name="T18" fmla="*/ 98 w 113"/>
                <a:gd name="T19" fmla="*/ 13 h 133"/>
                <a:gd name="T20" fmla="*/ 109 w 113"/>
                <a:gd name="T21" fmla="*/ 42 h 133"/>
                <a:gd name="T22" fmla="*/ 109 w 113"/>
                <a:gd name="T23" fmla="*/ 42 h 133"/>
                <a:gd name="T24" fmla="*/ 77 w 113"/>
                <a:gd name="T25" fmla="*/ 83 h 133"/>
                <a:gd name="T26" fmla="*/ 113 w 113"/>
                <a:gd name="T27" fmla="*/ 133 h 133"/>
                <a:gd name="T28" fmla="*/ 85 w 113"/>
                <a:gd name="T29" fmla="*/ 133 h 133"/>
                <a:gd name="T30" fmla="*/ 52 w 113"/>
                <a:gd name="T31" fmla="*/ 87 h 133"/>
                <a:gd name="T32" fmla="*/ 23 w 113"/>
                <a:gd name="T33" fmla="*/ 87 h 133"/>
                <a:gd name="T34" fmla="*/ 23 w 113"/>
                <a:gd name="T35" fmla="*/ 133 h 133"/>
                <a:gd name="T36" fmla="*/ 0 w 113"/>
                <a:gd name="T37" fmla="*/ 133 h 133"/>
                <a:gd name="T38" fmla="*/ 0 w 113"/>
                <a:gd name="T3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3" h="133">
                  <a:moveTo>
                    <a:pt x="57" y="66"/>
                  </a:moveTo>
                  <a:cubicBezTo>
                    <a:pt x="74" y="66"/>
                    <a:pt x="85" y="57"/>
                    <a:pt x="85" y="44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5" y="29"/>
                    <a:pt x="74" y="21"/>
                    <a:pt x="57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66"/>
                    <a:pt x="23" y="66"/>
                    <a:pt x="23" y="66"/>
                  </a:cubicBezTo>
                  <a:lnTo>
                    <a:pt x="57" y="66"/>
                  </a:lnTo>
                  <a:close/>
                  <a:moveTo>
                    <a:pt x="0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76" y="0"/>
                    <a:pt x="89" y="5"/>
                    <a:pt x="98" y="13"/>
                  </a:cubicBezTo>
                  <a:cubicBezTo>
                    <a:pt x="105" y="20"/>
                    <a:pt x="109" y="30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64"/>
                    <a:pt x="95" y="77"/>
                    <a:pt x="77" y="83"/>
                  </a:cubicBezTo>
                  <a:cubicBezTo>
                    <a:pt x="113" y="133"/>
                    <a:pt x="113" y="133"/>
                    <a:pt x="113" y="133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23" y="133"/>
                    <a:pt x="23" y="133"/>
                    <a:pt x="23" y="133"/>
                  </a:cubicBezTo>
                  <a:cubicBezTo>
                    <a:pt x="0" y="133"/>
                    <a:pt x="0" y="133"/>
                    <a:pt x="0" y="13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27">
              <a:extLst>
                <a:ext uri="{FF2B5EF4-FFF2-40B4-BE49-F238E27FC236}">
                  <a16:creationId xmlns:a16="http://schemas.microsoft.com/office/drawing/2014/main" id="{1D109B4E-5555-5744-A62F-036199B14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067" y="4078369"/>
              <a:ext cx="115594" cy="132029"/>
            </a:xfrm>
            <a:custGeom>
              <a:avLst/>
              <a:gdLst>
                <a:gd name="T0" fmla="*/ 0 w 204"/>
                <a:gd name="T1" fmla="*/ 0 h 233"/>
                <a:gd name="T2" fmla="*/ 38 w 204"/>
                <a:gd name="T3" fmla="*/ 0 h 233"/>
                <a:gd name="T4" fmla="*/ 162 w 204"/>
                <a:gd name="T5" fmla="*/ 161 h 233"/>
                <a:gd name="T6" fmla="*/ 162 w 204"/>
                <a:gd name="T7" fmla="*/ 0 h 233"/>
                <a:gd name="T8" fmla="*/ 204 w 204"/>
                <a:gd name="T9" fmla="*/ 0 h 233"/>
                <a:gd name="T10" fmla="*/ 204 w 204"/>
                <a:gd name="T11" fmla="*/ 233 h 233"/>
                <a:gd name="T12" fmla="*/ 169 w 204"/>
                <a:gd name="T13" fmla="*/ 233 h 233"/>
                <a:gd name="T14" fmla="*/ 40 w 204"/>
                <a:gd name="T15" fmla="*/ 67 h 233"/>
                <a:gd name="T16" fmla="*/ 40 w 204"/>
                <a:gd name="T17" fmla="*/ 233 h 233"/>
                <a:gd name="T18" fmla="*/ 0 w 204"/>
                <a:gd name="T19" fmla="*/ 233 h 233"/>
                <a:gd name="T20" fmla="*/ 0 w 204"/>
                <a:gd name="T2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" h="233">
                  <a:moveTo>
                    <a:pt x="0" y="0"/>
                  </a:moveTo>
                  <a:lnTo>
                    <a:pt x="38" y="0"/>
                  </a:lnTo>
                  <a:lnTo>
                    <a:pt x="162" y="161"/>
                  </a:lnTo>
                  <a:lnTo>
                    <a:pt x="162" y="0"/>
                  </a:lnTo>
                  <a:lnTo>
                    <a:pt x="204" y="0"/>
                  </a:lnTo>
                  <a:lnTo>
                    <a:pt x="204" y="233"/>
                  </a:lnTo>
                  <a:lnTo>
                    <a:pt x="169" y="233"/>
                  </a:lnTo>
                  <a:lnTo>
                    <a:pt x="40" y="67"/>
                  </a:lnTo>
                  <a:lnTo>
                    <a:pt x="40" y="233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28">
              <a:extLst>
                <a:ext uri="{FF2B5EF4-FFF2-40B4-BE49-F238E27FC236}">
                  <a16:creationId xmlns:a16="http://schemas.microsoft.com/office/drawing/2014/main" id="{3E47AD5D-C255-A049-B3DE-2282F80A1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9325" y="4078369"/>
              <a:ext cx="130893" cy="132029"/>
            </a:xfrm>
            <a:custGeom>
              <a:avLst/>
              <a:gdLst>
                <a:gd name="T0" fmla="*/ 0 w 231"/>
                <a:gd name="T1" fmla="*/ 0 h 233"/>
                <a:gd name="T2" fmla="*/ 44 w 231"/>
                <a:gd name="T3" fmla="*/ 0 h 233"/>
                <a:gd name="T4" fmla="*/ 115 w 231"/>
                <a:gd name="T5" fmla="*/ 110 h 233"/>
                <a:gd name="T6" fmla="*/ 187 w 231"/>
                <a:gd name="T7" fmla="*/ 0 h 233"/>
                <a:gd name="T8" fmla="*/ 231 w 231"/>
                <a:gd name="T9" fmla="*/ 0 h 233"/>
                <a:gd name="T10" fmla="*/ 231 w 231"/>
                <a:gd name="T11" fmla="*/ 233 h 233"/>
                <a:gd name="T12" fmla="*/ 189 w 231"/>
                <a:gd name="T13" fmla="*/ 233 h 233"/>
                <a:gd name="T14" fmla="*/ 189 w 231"/>
                <a:gd name="T15" fmla="*/ 65 h 233"/>
                <a:gd name="T16" fmla="*/ 115 w 231"/>
                <a:gd name="T17" fmla="*/ 175 h 233"/>
                <a:gd name="T18" fmla="*/ 114 w 231"/>
                <a:gd name="T19" fmla="*/ 175 h 233"/>
                <a:gd name="T20" fmla="*/ 40 w 231"/>
                <a:gd name="T21" fmla="*/ 67 h 233"/>
                <a:gd name="T22" fmla="*/ 40 w 231"/>
                <a:gd name="T23" fmla="*/ 233 h 233"/>
                <a:gd name="T24" fmla="*/ 0 w 231"/>
                <a:gd name="T25" fmla="*/ 233 h 233"/>
                <a:gd name="T26" fmla="*/ 0 w 231"/>
                <a:gd name="T27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1" h="233">
                  <a:moveTo>
                    <a:pt x="0" y="0"/>
                  </a:moveTo>
                  <a:lnTo>
                    <a:pt x="44" y="0"/>
                  </a:lnTo>
                  <a:lnTo>
                    <a:pt x="115" y="110"/>
                  </a:lnTo>
                  <a:lnTo>
                    <a:pt x="187" y="0"/>
                  </a:lnTo>
                  <a:lnTo>
                    <a:pt x="231" y="0"/>
                  </a:lnTo>
                  <a:lnTo>
                    <a:pt x="231" y="233"/>
                  </a:lnTo>
                  <a:lnTo>
                    <a:pt x="189" y="233"/>
                  </a:lnTo>
                  <a:lnTo>
                    <a:pt x="189" y="65"/>
                  </a:lnTo>
                  <a:lnTo>
                    <a:pt x="115" y="175"/>
                  </a:lnTo>
                  <a:lnTo>
                    <a:pt x="114" y="175"/>
                  </a:lnTo>
                  <a:lnTo>
                    <a:pt x="40" y="67"/>
                  </a:lnTo>
                  <a:lnTo>
                    <a:pt x="40" y="233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29">
              <a:extLst>
                <a:ext uri="{FF2B5EF4-FFF2-40B4-BE49-F238E27FC236}">
                  <a16:creationId xmlns:a16="http://schemas.microsoft.com/office/drawing/2014/main" id="{33F319D9-EB38-C04B-9B8C-45B4405B1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752" y="4078369"/>
              <a:ext cx="99162" cy="132029"/>
            </a:xfrm>
            <a:custGeom>
              <a:avLst/>
              <a:gdLst>
                <a:gd name="T0" fmla="*/ 0 w 175"/>
                <a:gd name="T1" fmla="*/ 0 h 233"/>
                <a:gd name="T2" fmla="*/ 173 w 175"/>
                <a:gd name="T3" fmla="*/ 0 h 233"/>
                <a:gd name="T4" fmla="*/ 173 w 175"/>
                <a:gd name="T5" fmla="*/ 37 h 233"/>
                <a:gd name="T6" fmla="*/ 40 w 175"/>
                <a:gd name="T7" fmla="*/ 37 h 233"/>
                <a:gd name="T8" fmla="*/ 40 w 175"/>
                <a:gd name="T9" fmla="*/ 96 h 233"/>
                <a:gd name="T10" fmla="*/ 157 w 175"/>
                <a:gd name="T11" fmla="*/ 96 h 233"/>
                <a:gd name="T12" fmla="*/ 157 w 175"/>
                <a:gd name="T13" fmla="*/ 133 h 233"/>
                <a:gd name="T14" fmla="*/ 40 w 175"/>
                <a:gd name="T15" fmla="*/ 133 h 233"/>
                <a:gd name="T16" fmla="*/ 40 w 175"/>
                <a:gd name="T17" fmla="*/ 196 h 233"/>
                <a:gd name="T18" fmla="*/ 175 w 175"/>
                <a:gd name="T19" fmla="*/ 196 h 233"/>
                <a:gd name="T20" fmla="*/ 175 w 175"/>
                <a:gd name="T21" fmla="*/ 233 h 233"/>
                <a:gd name="T22" fmla="*/ 0 w 175"/>
                <a:gd name="T23" fmla="*/ 233 h 233"/>
                <a:gd name="T24" fmla="*/ 0 w 175"/>
                <a:gd name="T25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5" h="233">
                  <a:moveTo>
                    <a:pt x="0" y="0"/>
                  </a:moveTo>
                  <a:lnTo>
                    <a:pt x="173" y="0"/>
                  </a:lnTo>
                  <a:lnTo>
                    <a:pt x="173" y="37"/>
                  </a:lnTo>
                  <a:lnTo>
                    <a:pt x="40" y="37"/>
                  </a:lnTo>
                  <a:lnTo>
                    <a:pt x="40" y="96"/>
                  </a:lnTo>
                  <a:lnTo>
                    <a:pt x="157" y="96"/>
                  </a:lnTo>
                  <a:lnTo>
                    <a:pt x="157" y="133"/>
                  </a:lnTo>
                  <a:lnTo>
                    <a:pt x="40" y="133"/>
                  </a:lnTo>
                  <a:lnTo>
                    <a:pt x="40" y="196"/>
                  </a:lnTo>
                  <a:lnTo>
                    <a:pt x="175" y="196"/>
                  </a:lnTo>
                  <a:lnTo>
                    <a:pt x="175" y="233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30">
              <a:extLst>
                <a:ext uri="{FF2B5EF4-FFF2-40B4-BE49-F238E27FC236}">
                  <a16:creationId xmlns:a16="http://schemas.microsoft.com/office/drawing/2014/main" id="{60817A10-46F0-A749-8BE6-8F26A46FC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3581" y="4078369"/>
              <a:ext cx="115027" cy="132029"/>
            </a:xfrm>
            <a:custGeom>
              <a:avLst/>
              <a:gdLst>
                <a:gd name="T0" fmla="*/ 0 w 203"/>
                <a:gd name="T1" fmla="*/ 0 h 233"/>
                <a:gd name="T2" fmla="*/ 38 w 203"/>
                <a:gd name="T3" fmla="*/ 0 h 233"/>
                <a:gd name="T4" fmla="*/ 162 w 203"/>
                <a:gd name="T5" fmla="*/ 161 h 233"/>
                <a:gd name="T6" fmla="*/ 162 w 203"/>
                <a:gd name="T7" fmla="*/ 0 h 233"/>
                <a:gd name="T8" fmla="*/ 203 w 203"/>
                <a:gd name="T9" fmla="*/ 0 h 233"/>
                <a:gd name="T10" fmla="*/ 203 w 203"/>
                <a:gd name="T11" fmla="*/ 233 h 233"/>
                <a:gd name="T12" fmla="*/ 169 w 203"/>
                <a:gd name="T13" fmla="*/ 233 h 233"/>
                <a:gd name="T14" fmla="*/ 40 w 203"/>
                <a:gd name="T15" fmla="*/ 67 h 233"/>
                <a:gd name="T16" fmla="*/ 40 w 203"/>
                <a:gd name="T17" fmla="*/ 233 h 233"/>
                <a:gd name="T18" fmla="*/ 0 w 203"/>
                <a:gd name="T19" fmla="*/ 233 h 233"/>
                <a:gd name="T20" fmla="*/ 0 w 203"/>
                <a:gd name="T2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3" h="233">
                  <a:moveTo>
                    <a:pt x="0" y="0"/>
                  </a:moveTo>
                  <a:lnTo>
                    <a:pt x="38" y="0"/>
                  </a:lnTo>
                  <a:lnTo>
                    <a:pt x="162" y="161"/>
                  </a:lnTo>
                  <a:lnTo>
                    <a:pt x="162" y="0"/>
                  </a:lnTo>
                  <a:lnTo>
                    <a:pt x="203" y="0"/>
                  </a:lnTo>
                  <a:lnTo>
                    <a:pt x="203" y="233"/>
                  </a:lnTo>
                  <a:lnTo>
                    <a:pt x="169" y="233"/>
                  </a:lnTo>
                  <a:lnTo>
                    <a:pt x="40" y="67"/>
                  </a:lnTo>
                  <a:lnTo>
                    <a:pt x="40" y="233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31">
              <a:extLst>
                <a:ext uri="{FF2B5EF4-FFF2-40B4-BE49-F238E27FC236}">
                  <a16:creationId xmlns:a16="http://schemas.microsoft.com/office/drawing/2014/main" id="{08ADF693-AE1A-FA42-94F6-925625DAC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7310" y="4078369"/>
              <a:ext cx="106527" cy="132029"/>
            </a:xfrm>
            <a:custGeom>
              <a:avLst/>
              <a:gdLst>
                <a:gd name="T0" fmla="*/ 73 w 188"/>
                <a:gd name="T1" fmla="*/ 37 h 233"/>
                <a:gd name="T2" fmla="*/ 0 w 188"/>
                <a:gd name="T3" fmla="*/ 37 h 233"/>
                <a:gd name="T4" fmla="*/ 0 w 188"/>
                <a:gd name="T5" fmla="*/ 0 h 233"/>
                <a:gd name="T6" fmla="*/ 188 w 188"/>
                <a:gd name="T7" fmla="*/ 0 h 233"/>
                <a:gd name="T8" fmla="*/ 188 w 188"/>
                <a:gd name="T9" fmla="*/ 37 h 233"/>
                <a:gd name="T10" fmla="*/ 115 w 188"/>
                <a:gd name="T11" fmla="*/ 37 h 233"/>
                <a:gd name="T12" fmla="*/ 115 w 188"/>
                <a:gd name="T13" fmla="*/ 233 h 233"/>
                <a:gd name="T14" fmla="*/ 73 w 188"/>
                <a:gd name="T15" fmla="*/ 233 h 233"/>
                <a:gd name="T16" fmla="*/ 73 w 188"/>
                <a:gd name="T17" fmla="*/ 3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33">
                  <a:moveTo>
                    <a:pt x="73" y="37"/>
                  </a:moveTo>
                  <a:lnTo>
                    <a:pt x="0" y="37"/>
                  </a:lnTo>
                  <a:lnTo>
                    <a:pt x="0" y="0"/>
                  </a:lnTo>
                  <a:lnTo>
                    <a:pt x="188" y="0"/>
                  </a:lnTo>
                  <a:lnTo>
                    <a:pt x="188" y="37"/>
                  </a:lnTo>
                  <a:lnTo>
                    <a:pt x="115" y="37"/>
                  </a:lnTo>
                  <a:lnTo>
                    <a:pt x="115" y="233"/>
                  </a:lnTo>
                  <a:lnTo>
                    <a:pt x="73" y="233"/>
                  </a:lnTo>
                  <a:lnTo>
                    <a:pt x="73" y="3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D8FBFE7C-AE93-9145-BDAC-94FB5E50C62B}"/>
              </a:ext>
            </a:extLst>
          </p:cNvPr>
          <p:cNvGrpSpPr/>
          <p:nvPr/>
        </p:nvGrpSpPr>
        <p:grpSpPr>
          <a:xfrm>
            <a:off x="5436622" y="3577459"/>
            <a:ext cx="1348605" cy="446513"/>
            <a:chOff x="3992064" y="3577459"/>
            <a:chExt cx="1348605" cy="446513"/>
          </a:xfrm>
          <a:effectLst>
            <a:reflection endPos="0" dir="5400000" sy="-100000" algn="bl" rotWithShape="0"/>
          </a:effectLst>
        </p:grpSpPr>
        <p:sp>
          <p:nvSpPr>
            <p:cNvPr id="120" name="Freeform 21">
              <a:extLst>
                <a:ext uri="{FF2B5EF4-FFF2-40B4-BE49-F238E27FC236}">
                  <a16:creationId xmlns:a16="http://schemas.microsoft.com/office/drawing/2014/main" id="{EE710DF6-96B5-FF4F-85E0-C7216A15C4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2064" y="3585959"/>
              <a:ext cx="1348605" cy="428380"/>
            </a:xfrm>
            <a:custGeom>
              <a:avLst/>
              <a:gdLst>
                <a:gd name="T0" fmla="*/ 2205 w 2380"/>
                <a:gd name="T1" fmla="*/ 0 h 756"/>
                <a:gd name="T2" fmla="*/ 2094 w 2380"/>
                <a:gd name="T3" fmla="*/ 483 h 756"/>
                <a:gd name="T4" fmla="*/ 1977 w 2380"/>
                <a:gd name="T5" fmla="*/ 0 h 756"/>
                <a:gd name="T6" fmla="*/ 1814 w 2380"/>
                <a:gd name="T7" fmla="*/ 0 h 756"/>
                <a:gd name="T8" fmla="*/ 1694 w 2380"/>
                <a:gd name="T9" fmla="*/ 478 h 756"/>
                <a:gd name="T10" fmla="*/ 1585 w 2380"/>
                <a:gd name="T11" fmla="*/ 0 h 756"/>
                <a:gd name="T12" fmla="*/ 1409 w 2380"/>
                <a:gd name="T13" fmla="*/ 0 h 756"/>
                <a:gd name="T14" fmla="*/ 1605 w 2380"/>
                <a:gd name="T15" fmla="*/ 754 h 756"/>
                <a:gd name="T16" fmla="*/ 1779 w 2380"/>
                <a:gd name="T17" fmla="*/ 754 h 756"/>
                <a:gd name="T18" fmla="*/ 1893 w 2380"/>
                <a:gd name="T19" fmla="*/ 278 h 756"/>
                <a:gd name="T20" fmla="*/ 2010 w 2380"/>
                <a:gd name="T21" fmla="*/ 754 h 756"/>
                <a:gd name="T22" fmla="*/ 2181 w 2380"/>
                <a:gd name="T23" fmla="*/ 754 h 756"/>
                <a:gd name="T24" fmla="*/ 2183 w 2380"/>
                <a:gd name="T25" fmla="*/ 749 h 756"/>
                <a:gd name="T26" fmla="*/ 2380 w 2380"/>
                <a:gd name="T27" fmla="*/ 0 h 756"/>
                <a:gd name="T28" fmla="*/ 2205 w 2380"/>
                <a:gd name="T29" fmla="*/ 0 h 756"/>
                <a:gd name="T30" fmla="*/ 583 w 2380"/>
                <a:gd name="T31" fmla="*/ 483 h 756"/>
                <a:gd name="T32" fmla="*/ 173 w 2380"/>
                <a:gd name="T33" fmla="*/ 0 h 756"/>
                <a:gd name="T34" fmla="*/ 0 w 2380"/>
                <a:gd name="T35" fmla="*/ 0 h 756"/>
                <a:gd name="T36" fmla="*/ 0 w 2380"/>
                <a:gd name="T37" fmla="*/ 756 h 756"/>
                <a:gd name="T38" fmla="*/ 169 w 2380"/>
                <a:gd name="T39" fmla="*/ 756 h 756"/>
                <a:gd name="T40" fmla="*/ 169 w 2380"/>
                <a:gd name="T41" fmla="*/ 275 h 756"/>
                <a:gd name="T42" fmla="*/ 578 w 2380"/>
                <a:gd name="T43" fmla="*/ 756 h 756"/>
                <a:gd name="T44" fmla="*/ 752 w 2380"/>
                <a:gd name="T45" fmla="*/ 756 h 756"/>
                <a:gd name="T46" fmla="*/ 752 w 2380"/>
                <a:gd name="T47" fmla="*/ 0 h 756"/>
                <a:gd name="T48" fmla="*/ 583 w 2380"/>
                <a:gd name="T49" fmla="*/ 0 h 756"/>
                <a:gd name="T50" fmla="*/ 583 w 2380"/>
                <a:gd name="T51" fmla="*/ 483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80" h="756">
                  <a:moveTo>
                    <a:pt x="2205" y="0"/>
                  </a:moveTo>
                  <a:lnTo>
                    <a:pt x="2094" y="483"/>
                  </a:lnTo>
                  <a:lnTo>
                    <a:pt x="1977" y="0"/>
                  </a:lnTo>
                  <a:lnTo>
                    <a:pt x="1814" y="0"/>
                  </a:lnTo>
                  <a:lnTo>
                    <a:pt x="1694" y="478"/>
                  </a:lnTo>
                  <a:lnTo>
                    <a:pt x="1585" y="0"/>
                  </a:lnTo>
                  <a:lnTo>
                    <a:pt x="1409" y="0"/>
                  </a:lnTo>
                  <a:lnTo>
                    <a:pt x="1605" y="754"/>
                  </a:lnTo>
                  <a:lnTo>
                    <a:pt x="1779" y="754"/>
                  </a:lnTo>
                  <a:lnTo>
                    <a:pt x="1893" y="278"/>
                  </a:lnTo>
                  <a:lnTo>
                    <a:pt x="2010" y="754"/>
                  </a:lnTo>
                  <a:lnTo>
                    <a:pt x="2181" y="754"/>
                  </a:lnTo>
                  <a:lnTo>
                    <a:pt x="2183" y="749"/>
                  </a:lnTo>
                  <a:lnTo>
                    <a:pt x="2380" y="0"/>
                  </a:lnTo>
                  <a:lnTo>
                    <a:pt x="2205" y="0"/>
                  </a:lnTo>
                  <a:close/>
                  <a:moveTo>
                    <a:pt x="583" y="483"/>
                  </a:moveTo>
                  <a:lnTo>
                    <a:pt x="173" y="0"/>
                  </a:lnTo>
                  <a:lnTo>
                    <a:pt x="0" y="0"/>
                  </a:lnTo>
                  <a:lnTo>
                    <a:pt x="0" y="756"/>
                  </a:lnTo>
                  <a:lnTo>
                    <a:pt x="169" y="756"/>
                  </a:lnTo>
                  <a:lnTo>
                    <a:pt x="169" y="275"/>
                  </a:lnTo>
                  <a:lnTo>
                    <a:pt x="578" y="756"/>
                  </a:lnTo>
                  <a:lnTo>
                    <a:pt x="752" y="756"/>
                  </a:lnTo>
                  <a:lnTo>
                    <a:pt x="752" y="0"/>
                  </a:lnTo>
                  <a:lnTo>
                    <a:pt x="583" y="0"/>
                  </a:lnTo>
                  <a:lnTo>
                    <a:pt x="583" y="48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32">
              <a:extLst>
                <a:ext uri="{FF2B5EF4-FFF2-40B4-BE49-F238E27FC236}">
                  <a16:creationId xmlns:a16="http://schemas.microsoft.com/office/drawing/2014/main" id="{D58497E6-722C-894E-86CD-DDF1201B3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4243" y="3577459"/>
              <a:ext cx="343384" cy="446513"/>
            </a:xfrm>
            <a:custGeom>
              <a:avLst/>
              <a:gdLst>
                <a:gd name="T0" fmla="*/ 0 w 347"/>
                <a:gd name="T1" fmla="*/ 381 h 451"/>
                <a:gd name="T2" fmla="*/ 57 w 347"/>
                <a:gd name="T3" fmla="*/ 312 h 451"/>
                <a:gd name="T4" fmla="*/ 188 w 347"/>
                <a:gd name="T5" fmla="*/ 366 h 451"/>
                <a:gd name="T6" fmla="*/ 251 w 347"/>
                <a:gd name="T7" fmla="*/ 324 h 451"/>
                <a:gd name="T8" fmla="*/ 251 w 347"/>
                <a:gd name="T9" fmla="*/ 323 h 451"/>
                <a:gd name="T10" fmla="*/ 163 w 347"/>
                <a:gd name="T11" fmla="*/ 267 h 451"/>
                <a:gd name="T12" fmla="*/ 18 w 347"/>
                <a:gd name="T13" fmla="*/ 133 h 451"/>
                <a:gd name="T14" fmla="*/ 18 w 347"/>
                <a:gd name="T15" fmla="*/ 132 h 451"/>
                <a:gd name="T16" fmla="*/ 171 w 347"/>
                <a:gd name="T17" fmla="*/ 0 h 451"/>
                <a:gd name="T18" fmla="*/ 334 w 347"/>
                <a:gd name="T19" fmla="*/ 56 h 451"/>
                <a:gd name="T20" fmla="*/ 284 w 347"/>
                <a:gd name="T21" fmla="*/ 128 h 451"/>
                <a:gd name="T22" fmla="*/ 170 w 347"/>
                <a:gd name="T23" fmla="*/ 85 h 451"/>
                <a:gd name="T24" fmla="*/ 114 w 347"/>
                <a:gd name="T25" fmla="*/ 123 h 451"/>
                <a:gd name="T26" fmla="*/ 114 w 347"/>
                <a:gd name="T27" fmla="*/ 125 h 451"/>
                <a:gd name="T28" fmla="*/ 208 w 347"/>
                <a:gd name="T29" fmla="*/ 182 h 451"/>
                <a:gd name="T30" fmla="*/ 347 w 347"/>
                <a:gd name="T31" fmla="*/ 314 h 451"/>
                <a:gd name="T32" fmla="*/ 347 w 347"/>
                <a:gd name="T33" fmla="*/ 315 h 451"/>
                <a:gd name="T34" fmla="*/ 186 w 347"/>
                <a:gd name="T35" fmla="*/ 451 h 451"/>
                <a:gd name="T36" fmla="*/ 0 w 347"/>
                <a:gd name="T37" fmla="*/ 381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7" h="451">
                  <a:moveTo>
                    <a:pt x="0" y="381"/>
                  </a:moveTo>
                  <a:cubicBezTo>
                    <a:pt x="57" y="312"/>
                    <a:pt x="57" y="312"/>
                    <a:pt x="57" y="312"/>
                  </a:cubicBezTo>
                  <a:cubicBezTo>
                    <a:pt x="97" y="345"/>
                    <a:pt x="138" y="366"/>
                    <a:pt x="188" y="366"/>
                  </a:cubicBezTo>
                  <a:cubicBezTo>
                    <a:pt x="227" y="366"/>
                    <a:pt x="251" y="350"/>
                    <a:pt x="251" y="324"/>
                  </a:cubicBezTo>
                  <a:cubicBezTo>
                    <a:pt x="251" y="323"/>
                    <a:pt x="251" y="323"/>
                    <a:pt x="251" y="323"/>
                  </a:cubicBezTo>
                  <a:cubicBezTo>
                    <a:pt x="251" y="299"/>
                    <a:pt x="236" y="286"/>
                    <a:pt x="163" y="267"/>
                  </a:cubicBezTo>
                  <a:cubicBezTo>
                    <a:pt x="75" y="245"/>
                    <a:pt x="18" y="220"/>
                    <a:pt x="18" y="133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53"/>
                    <a:pt x="82" y="0"/>
                    <a:pt x="171" y="0"/>
                  </a:cubicBezTo>
                  <a:cubicBezTo>
                    <a:pt x="235" y="0"/>
                    <a:pt x="289" y="20"/>
                    <a:pt x="334" y="56"/>
                  </a:cubicBezTo>
                  <a:cubicBezTo>
                    <a:pt x="284" y="128"/>
                    <a:pt x="284" y="128"/>
                    <a:pt x="284" y="128"/>
                  </a:cubicBezTo>
                  <a:cubicBezTo>
                    <a:pt x="245" y="101"/>
                    <a:pt x="207" y="85"/>
                    <a:pt x="170" y="85"/>
                  </a:cubicBezTo>
                  <a:cubicBezTo>
                    <a:pt x="133" y="85"/>
                    <a:pt x="114" y="102"/>
                    <a:pt x="114" y="123"/>
                  </a:cubicBezTo>
                  <a:cubicBezTo>
                    <a:pt x="114" y="125"/>
                    <a:pt x="114" y="125"/>
                    <a:pt x="114" y="125"/>
                  </a:cubicBezTo>
                  <a:cubicBezTo>
                    <a:pt x="114" y="153"/>
                    <a:pt x="132" y="163"/>
                    <a:pt x="208" y="182"/>
                  </a:cubicBezTo>
                  <a:cubicBezTo>
                    <a:pt x="297" y="205"/>
                    <a:pt x="347" y="237"/>
                    <a:pt x="347" y="314"/>
                  </a:cubicBezTo>
                  <a:cubicBezTo>
                    <a:pt x="347" y="315"/>
                    <a:pt x="347" y="315"/>
                    <a:pt x="347" y="315"/>
                  </a:cubicBezTo>
                  <a:cubicBezTo>
                    <a:pt x="347" y="402"/>
                    <a:pt x="281" y="451"/>
                    <a:pt x="186" y="451"/>
                  </a:cubicBezTo>
                  <a:cubicBezTo>
                    <a:pt x="120" y="451"/>
                    <a:pt x="53" y="428"/>
                    <a:pt x="0" y="38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22" name="Freeform 5">
            <a:extLst>
              <a:ext uri="{FF2B5EF4-FFF2-40B4-BE49-F238E27FC236}">
                <a16:creationId xmlns:a16="http://schemas.microsoft.com/office/drawing/2014/main" id="{D27DA3FC-23A0-3341-8A79-BF6AB53AB41E}"/>
              </a:ext>
            </a:extLst>
          </p:cNvPr>
          <p:cNvSpPr>
            <a:spLocks/>
          </p:cNvSpPr>
          <p:nvPr/>
        </p:nvSpPr>
        <p:spPr bwMode="auto">
          <a:xfrm>
            <a:off x="5648132" y="2772562"/>
            <a:ext cx="267757" cy="649213"/>
          </a:xfrm>
          <a:custGeom>
            <a:avLst/>
            <a:gdLst>
              <a:gd name="T0" fmla="*/ 575 w 575"/>
              <a:gd name="T1" fmla="*/ 1394 h 1394"/>
              <a:gd name="T2" fmla="*/ 396 w 575"/>
              <a:gd name="T3" fmla="*/ 1140 h 1394"/>
              <a:gd name="T4" fmla="*/ 339 w 575"/>
              <a:gd name="T5" fmla="*/ 723 h 1394"/>
              <a:gd name="T6" fmla="*/ 386 w 575"/>
              <a:gd name="T7" fmla="*/ 265 h 1394"/>
              <a:gd name="T8" fmla="*/ 387 w 575"/>
              <a:gd name="T9" fmla="*/ 262 h 1394"/>
              <a:gd name="T10" fmla="*/ 435 w 575"/>
              <a:gd name="T11" fmla="*/ 195 h 1394"/>
              <a:gd name="T12" fmla="*/ 98 w 575"/>
              <a:gd name="T13" fmla="*/ 15 h 1394"/>
              <a:gd name="T14" fmla="*/ 73 w 575"/>
              <a:gd name="T15" fmla="*/ 4 h 1394"/>
              <a:gd name="T16" fmla="*/ 72 w 575"/>
              <a:gd name="T17" fmla="*/ 4 h 1394"/>
              <a:gd name="T18" fmla="*/ 72 w 575"/>
              <a:gd name="T19" fmla="*/ 4 h 1394"/>
              <a:gd name="T20" fmla="*/ 54 w 575"/>
              <a:gd name="T21" fmla="*/ 0 h 1394"/>
              <a:gd name="T22" fmla="*/ 20 w 575"/>
              <a:gd name="T23" fmla="*/ 33 h 1394"/>
              <a:gd name="T24" fmla="*/ 11 w 575"/>
              <a:gd name="T25" fmla="*/ 122 h 1394"/>
              <a:gd name="T26" fmla="*/ 0 w 575"/>
              <a:gd name="T27" fmla="*/ 349 h 1394"/>
              <a:gd name="T28" fmla="*/ 163 w 575"/>
              <a:gd name="T29" fmla="*/ 1108 h 1394"/>
              <a:gd name="T30" fmla="*/ 575 w 575"/>
              <a:gd name="T31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75" h="1394">
                <a:moveTo>
                  <a:pt x="575" y="1394"/>
                </a:moveTo>
                <a:cubicBezTo>
                  <a:pt x="511" y="1346"/>
                  <a:pt x="436" y="1265"/>
                  <a:pt x="396" y="1140"/>
                </a:cubicBezTo>
                <a:cubicBezTo>
                  <a:pt x="358" y="1021"/>
                  <a:pt x="339" y="881"/>
                  <a:pt x="339" y="723"/>
                </a:cubicBezTo>
                <a:cubicBezTo>
                  <a:pt x="339" y="504"/>
                  <a:pt x="375" y="317"/>
                  <a:pt x="386" y="265"/>
                </a:cubicBezTo>
                <a:cubicBezTo>
                  <a:pt x="387" y="264"/>
                  <a:pt x="387" y="263"/>
                  <a:pt x="387" y="262"/>
                </a:cubicBezTo>
                <a:cubicBezTo>
                  <a:pt x="393" y="232"/>
                  <a:pt x="411" y="208"/>
                  <a:pt x="435" y="195"/>
                </a:cubicBezTo>
                <a:cubicBezTo>
                  <a:pt x="269" y="89"/>
                  <a:pt x="126" y="26"/>
                  <a:pt x="98" y="15"/>
                </a:cubicBezTo>
                <a:cubicBezTo>
                  <a:pt x="82" y="7"/>
                  <a:pt x="73" y="4"/>
                  <a:pt x="73" y="4"/>
                </a:cubicBezTo>
                <a:cubicBezTo>
                  <a:pt x="72" y="4"/>
                  <a:pt x="72" y="4"/>
                  <a:pt x="72" y="4"/>
                </a:cubicBezTo>
                <a:cubicBezTo>
                  <a:pt x="72" y="4"/>
                  <a:pt x="72" y="4"/>
                  <a:pt x="72" y="4"/>
                </a:cubicBezTo>
                <a:cubicBezTo>
                  <a:pt x="66" y="1"/>
                  <a:pt x="60" y="0"/>
                  <a:pt x="54" y="0"/>
                </a:cubicBezTo>
                <a:cubicBezTo>
                  <a:pt x="35" y="0"/>
                  <a:pt x="24" y="11"/>
                  <a:pt x="20" y="33"/>
                </a:cubicBezTo>
                <a:cubicBezTo>
                  <a:pt x="20" y="33"/>
                  <a:pt x="16" y="66"/>
                  <a:pt x="11" y="122"/>
                </a:cubicBezTo>
                <a:cubicBezTo>
                  <a:pt x="6" y="173"/>
                  <a:pt x="0" y="253"/>
                  <a:pt x="0" y="349"/>
                </a:cubicBezTo>
                <a:cubicBezTo>
                  <a:pt x="0" y="565"/>
                  <a:pt x="28" y="872"/>
                  <a:pt x="163" y="1108"/>
                </a:cubicBezTo>
                <a:cubicBezTo>
                  <a:pt x="266" y="1287"/>
                  <a:pt x="412" y="1389"/>
                  <a:pt x="575" y="1394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3" name="Freeform 6">
            <a:extLst>
              <a:ext uri="{FF2B5EF4-FFF2-40B4-BE49-F238E27FC236}">
                <a16:creationId xmlns:a16="http://schemas.microsoft.com/office/drawing/2014/main" id="{51303D9B-24C4-C14C-83E8-17BF26E46B44}"/>
              </a:ext>
            </a:extLst>
          </p:cNvPr>
          <p:cNvSpPr>
            <a:spLocks/>
          </p:cNvSpPr>
          <p:nvPr/>
        </p:nvSpPr>
        <p:spPr bwMode="auto">
          <a:xfrm>
            <a:off x="6083975" y="2889952"/>
            <a:ext cx="277355" cy="546835"/>
          </a:xfrm>
          <a:custGeom>
            <a:avLst/>
            <a:gdLst>
              <a:gd name="T0" fmla="*/ 174 w 596"/>
              <a:gd name="T1" fmla="*/ 1174 h 1174"/>
              <a:gd name="T2" fmla="*/ 175 w 596"/>
              <a:gd name="T3" fmla="*/ 1174 h 1174"/>
              <a:gd name="T4" fmla="*/ 543 w 596"/>
              <a:gd name="T5" fmla="*/ 869 h 1174"/>
              <a:gd name="T6" fmla="*/ 596 w 596"/>
              <a:gd name="T7" fmla="*/ 471 h 1174"/>
              <a:gd name="T8" fmla="*/ 557 w 596"/>
              <a:gd name="T9" fmla="*/ 59 h 1174"/>
              <a:gd name="T10" fmla="*/ 550 w 596"/>
              <a:gd name="T11" fmla="*/ 24 h 1174"/>
              <a:gd name="T12" fmla="*/ 532 w 596"/>
              <a:gd name="T13" fmla="*/ 0 h 1174"/>
              <a:gd name="T14" fmla="*/ 518 w 596"/>
              <a:gd name="T15" fmla="*/ 6 h 1174"/>
              <a:gd name="T16" fmla="*/ 503 w 596"/>
              <a:gd name="T17" fmla="*/ 18 h 1174"/>
              <a:gd name="T18" fmla="*/ 462 w 596"/>
              <a:gd name="T19" fmla="*/ 54 h 1174"/>
              <a:gd name="T20" fmla="*/ 327 w 596"/>
              <a:gd name="T21" fmla="*/ 188 h 1174"/>
              <a:gd name="T22" fmla="*/ 51 w 596"/>
              <a:gd name="T23" fmla="*/ 646 h 1174"/>
              <a:gd name="T24" fmla="*/ 0 w 596"/>
              <a:gd name="T25" fmla="*/ 932 h 1174"/>
              <a:gd name="T26" fmla="*/ 28 w 596"/>
              <a:gd name="T27" fmla="*/ 1080 h 1174"/>
              <a:gd name="T28" fmla="*/ 112 w 596"/>
              <a:gd name="T29" fmla="*/ 1163 h 1174"/>
              <a:gd name="T30" fmla="*/ 174 w 596"/>
              <a:gd name="T31" fmla="*/ 1174 h 1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96" h="1174">
                <a:moveTo>
                  <a:pt x="174" y="1174"/>
                </a:moveTo>
                <a:cubicBezTo>
                  <a:pt x="175" y="1174"/>
                  <a:pt x="175" y="1174"/>
                  <a:pt x="175" y="1174"/>
                </a:cubicBezTo>
                <a:cubicBezTo>
                  <a:pt x="288" y="1174"/>
                  <a:pt x="478" y="1079"/>
                  <a:pt x="543" y="869"/>
                </a:cubicBezTo>
                <a:cubicBezTo>
                  <a:pt x="578" y="755"/>
                  <a:pt x="596" y="621"/>
                  <a:pt x="596" y="471"/>
                </a:cubicBezTo>
                <a:cubicBezTo>
                  <a:pt x="596" y="284"/>
                  <a:pt x="569" y="121"/>
                  <a:pt x="557" y="59"/>
                </a:cubicBezTo>
                <a:cubicBezTo>
                  <a:pt x="553" y="37"/>
                  <a:pt x="550" y="24"/>
                  <a:pt x="550" y="24"/>
                </a:cubicBezTo>
                <a:cubicBezTo>
                  <a:pt x="547" y="13"/>
                  <a:pt x="542" y="0"/>
                  <a:pt x="532" y="0"/>
                </a:cubicBezTo>
                <a:cubicBezTo>
                  <a:pt x="528" y="0"/>
                  <a:pt x="523" y="2"/>
                  <a:pt x="518" y="6"/>
                </a:cubicBezTo>
                <a:cubicBezTo>
                  <a:pt x="518" y="6"/>
                  <a:pt x="513" y="10"/>
                  <a:pt x="503" y="18"/>
                </a:cubicBezTo>
                <a:cubicBezTo>
                  <a:pt x="494" y="26"/>
                  <a:pt x="481" y="37"/>
                  <a:pt x="462" y="54"/>
                </a:cubicBezTo>
                <a:cubicBezTo>
                  <a:pt x="437" y="76"/>
                  <a:pt x="386" y="123"/>
                  <a:pt x="327" y="188"/>
                </a:cubicBezTo>
                <a:cubicBezTo>
                  <a:pt x="234" y="292"/>
                  <a:pt x="110" y="456"/>
                  <a:pt x="51" y="646"/>
                </a:cubicBezTo>
                <a:cubicBezTo>
                  <a:pt x="17" y="757"/>
                  <a:pt x="0" y="853"/>
                  <a:pt x="0" y="932"/>
                </a:cubicBezTo>
                <a:cubicBezTo>
                  <a:pt x="0" y="991"/>
                  <a:pt x="9" y="1040"/>
                  <a:pt x="28" y="1080"/>
                </a:cubicBezTo>
                <a:cubicBezTo>
                  <a:pt x="46" y="1118"/>
                  <a:pt x="74" y="1145"/>
                  <a:pt x="112" y="1163"/>
                </a:cubicBezTo>
                <a:cubicBezTo>
                  <a:pt x="128" y="1170"/>
                  <a:pt x="149" y="1174"/>
                  <a:pt x="174" y="1174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4" name="Freeform 7">
            <a:extLst>
              <a:ext uri="{FF2B5EF4-FFF2-40B4-BE49-F238E27FC236}">
                <a16:creationId xmlns:a16="http://schemas.microsoft.com/office/drawing/2014/main" id="{F652FEAB-BCB5-5944-859D-0A1F6B026839}"/>
              </a:ext>
            </a:extLst>
          </p:cNvPr>
          <p:cNvSpPr>
            <a:spLocks/>
          </p:cNvSpPr>
          <p:nvPr/>
        </p:nvSpPr>
        <p:spPr bwMode="auto">
          <a:xfrm>
            <a:off x="5836152" y="2889952"/>
            <a:ext cx="249546" cy="546835"/>
          </a:xfrm>
          <a:custGeom>
            <a:avLst/>
            <a:gdLst>
              <a:gd name="T0" fmla="*/ 532 w 536"/>
              <a:gd name="T1" fmla="*/ 596 h 1174"/>
              <a:gd name="T2" fmla="*/ 536 w 536"/>
              <a:gd name="T3" fmla="*/ 583 h 1174"/>
              <a:gd name="T4" fmla="*/ 95 w 536"/>
              <a:gd name="T5" fmla="*/ 18 h 1174"/>
              <a:gd name="T6" fmla="*/ 80 w 536"/>
              <a:gd name="T7" fmla="*/ 6 h 1174"/>
              <a:gd name="T8" fmla="*/ 65 w 536"/>
              <a:gd name="T9" fmla="*/ 0 h 1174"/>
              <a:gd name="T10" fmla="*/ 46 w 536"/>
              <a:gd name="T11" fmla="*/ 25 h 1174"/>
              <a:gd name="T12" fmla="*/ 39 w 536"/>
              <a:gd name="T13" fmla="*/ 59 h 1174"/>
              <a:gd name="T14" fmla="*/ 23 w 536"/>
              <a:gd name="T15" fmla="*/ 156 h 1174"/>
              <a:gd name="T16" fmla="*/ 0 w 536"/>
              <a:gd name="T17" fmla="*/ 471 h 1174"/>
              <a:gd name="T18" fmla="*/ 53 w 536"/>
              <a:gd name="T19" fmla="*/ 868 h 1174"/>
              <a:gd name="T20" fmla="*/ 430 w 536"/>
              <a:gd name="T21" fmla="*/ 1174 h 1174"/>
              <a:gd name="T22" fmla="*/ 432 w 536"/>
              <a:gd name="T23" fmla="*/ 1174 h 1174"/>
              <a:gd name="T24" fmla="*/ 496 w 536"/>
              <a:gd name="T25" fmla="*/ 1162 h 1174"/>
              <a:gd name="T26" fmla="*/ 525 w 536"/>
              <a:gd name="T27" fmla="*/ 1147 h 1174"/>
              <a:gd name="T28" fmla="*/ 502 w 536"/>
              <a:gd name="T29" fmla="*/ 1108 h 1174"/>
              <a:gd name="T30" fmla="*/ 467 w 536"/>
              <a:gd name="T31" fmla="*/ 932 h 1174"/>
              <a:gd name="T32" fmla="*/ 521 w 536"/>
              <a:gd name="T33" fmla="*/ 627 h 1174"/>
              <a:gd name="T34" fmla="*/ 532 w 536"/>
              <a:gd name="T35" fmla="*/ 596 h 1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36" h="1174">
                <a:moveTo>
                  <a:pt x="532" y="596"/>
                </a:moveTo>
                <a:cubicBezTo>
                  <a:pt x="533" y="592"/>
                  <a:pt x="534" y="588"/>
                  <a:pt x="536" y="583"/>
                </a:cubicBezTo>
                <a:cubicBezTo>
                  <a:pt x="412" y="276"/>
                  <a:pt x="128" y="44"/>
                  <a:pt x="95" y="18"/>
                </a:cubicBezTo>
                <a:cubicBezTo>
                  <a:pt x="85" y="10"/>
                  <a:pt x="80" y="6"/>
                  <a:pt x="80" y="6"/>
                </a:cubicBezTo>
                <a:cubicBezTo>
                  <a:pt x="74" y="2"/>
                  <a:pt x="69" y="0"/>
                  <a:pt x="65" y="0"/>
                </a:cubicBezTo>
                <a:cubicBezTo>
                  <a:pt x="55" y="0"/>
                  <a:pt x="49" y="13"/>
                  <a:pt x="46" y="25"/>
                </a:cubicBezTo>
                <a:cubicBezTo>
                  <a:pt x="46" y="27"/>
                  <a:pt x="43" y="39"/>
                  <a:pt x="39" y="59"/>
                </a:cubicBezTo>
                <a:cubicBezTo>
                  <a:pt x="36" y="75"/>
                  <a:pt x="30" y="108"/>
                  <a:pt x="23" y="156"/>
                </a:cubicBezTo>
                <a:cubicBezTo>
                  <a:pt x="12" y="230"/>
                  <a:pt x="0" y="344"/>
                  <a:pt x="0" y="471"/>
                </a:cubicBezTo>
                <a:cubicBezTo>
                  <a:pt x="0" y="624"/>
                  <a:pt x="18" y="757"/>
                  <a:pt x="53" y="868"/>
                </a:cubicBezTo>
                <a:cubicBezTo>
                  <a:pt x="120" y="1079"/>
                  <a:pt x="314" y="1174"/>
                  <a:pt x="430" y="1174"/>
                </a:cubicBezTo>
                <a:cubicBezTo>
                  <a:pt x="432" y="1174"/>
                  <a:pt x="432" y="1174"/>
                  <a:pt x="432" y="1174"/>
                </a:cubicBezTo>
                <a:cubicBezTo>
                  <a:pt x="456" y="1174"/>
                  <a:pt x="478" y="1170"/>
                  <a:pt x="496" y="1162"/>
                </a:cubicBezTo>
                <a:cubicBezTo>
                  <a:pt x="505" y="1158"/>
                  <a:pt x="514" y="1154"/>
                  <a:pt x="525" y="1147"/>
                </a:cubicBezTo>
                <a:cubicBezTo>
                  <a:pt x="516" y="1135"/>
                  <a:pt x="509" y="1122"/>
                  <a:pt x="502" y="1108"/>
                </a:cubicBezTo>
                <a:cubicBezTo>
                  <a:pt x="479" y="1060"/>
                  <a:pt x="468" y="1003"/>
                  <a:pt x="467" y="932"/>
                </a:cubicBezTo>
                <a:cubicBezTo>
                  <a:pt x="468" y="844"/>
                  <a:pt x="486" y="742"/>
                  <a:pt x="521" y="627"/>
                </a:cubicBezTo>
                <a:cubicBezTo>
                  <a:pt x="524" y="617"/>
                  <a:pt x="528" y="606"/>
                  <a:pt x="532" y="596"/>
                </a:cubicBezTo>
                <a:close/>
              </a:path>
            </a:pathLst>
          </a:custGeom>
          <a:solidFill>
            <a:srgbClr val="E21C40"/>
          </a:solidFill>
          <a:ln w="9525">
            <a:noFill/>
            <a:round/>
            <a:headEnd/>
            <a:tailEnd/>
          </a:ln>
          <a:effectLst>
            <a:reflection endPos="0" dir="5400000" sy="-100000" algn="bl" rotWithShape="0"/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5" name="Freeform 8">
            <a:extLst>
              <a:ext uri="{FF2B5EF4-FFF2-40B4-BE49-F238E27FC236}">
                <a16:creationId xmlns:a16="http://schemas.microsoft.com/office/drawing/2014/main" id="{F3849BE9-C5DF-BD40-A6C4-605AD243E0D6}"/>
              </a:ext>
            </a:extLst>
          </p:cNvPr>
          <p:cNvSpPr>
            <a:spLocks/>
          </p:cNvSpPr>
          <p:nvPr/>
        </p:nvSpPr>
        <p:spPr bwMode="auto">
          <a:xfrm>
            <a:off x="5962402" y="2655911"/>
            <a:ext cx="272679" cy="467098"/>
          </a:xfrm>
          <a:custGeom>
            <a:avLst/>
            <a:gdLst>
              <a:gd name="T0" fmla="*/ 298 w 586"/>
              <a:gd name="T1" fmla="*/ 1003 h 1003"/>
              <a:gd name="T2" fmla="*/ 586 w 586"/>
              <a:gd name="T3" fmla="*/ 598 h 1003"/>
              <a:gd name="T4" fmla="*/ 329 w 586"/>
              <a:gd name="T5" fmla="*/ 40 h 1003"/>
              <a:gd name="T6" fmla="*/ 313 w 586"/>
              <a:gd name="T7" fmla="*/ 15 h 1003"/>
              <a:gd name="T8" fmla="*/ 293 w 586"/>
              <a:gd name="T9" fmla="*/ 0 h 1003"/>
              <a:gd name="T10" fmla="*/ 272 w 586"/>
              <a:gd name="T11" fmla="*/ 16 h 1003"/>
              <a:gd name="T12" fmla="*/ 256 w 586"/>
              <a:gd name="T13" fmla="*/ 40 h 1003"/>
              <a:gd name="T14" fmla="*/ 215 w 586"/>
              <a:gd name="T15" fmla="*/ 111 h 1003"/>
              <a:gd name="T16" fmla="*/ 89 w 586"/>
              <a:gd name="T17" fmla="*/ 362 h 1003"/>
              <a:gd name="T18" fmla="*/ 0 w 586"/>
              <a:gd name="T19" fmla="*/ 593 h 1003"/>
              <a:gd name="T20" fmla="*/ 298 w 586"/>
              <a:gd name="T21" fmla="*/ 1003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86" h="1003">
                <a:moveTo>
                  <a:pt x="298" y="1003"/>
                </a:moveTo>
                <a:cubicBezTo>
                  <a:pt x="362" y="867"/>
                  <a:pt x="458" y="731"/>
                  <a:pt x="586" y="598"/>
                </a:cubicBezTo>
                <a:cubicBezTo>
                  <a:pt x="499" y="335"/>
                  <a:pt x="377" y="121"/>
                  <a:pt x="329" y="40"/>
                </a:cubicBezTo>
                <a:cubicBezTo>
                  <a:pt x="318" y="24"/>
                  <a:pt x="313" y="15"/>
                  <a:pt x="313" y="15"/>
                </a:cubicBezTo>
                <a:cubicBezTo>
                  <a:pt x="303" y="1"/>
                  <a:pt x="295" y="0"/>
                  <a:pt x="293" y="0"/>
                </a:cubicBezTo>
                <a:cubicBezTo>
                  <a:pt x="286" y="0"/>
                  <a:pt x="279" y="5"/>
                  <a:pt x="272" y="16"/>
                </a:cubicBezTo>
                <a:cubicBezTo>
                  <a:pt x="272" y="16"/>
                  <a:pt x="266" y="24"/>
                  <a:pt x="256" y="40"/>
                </a:cubicBezTo>
                <a:cubicBezTo>
                  <a:pt x="242" y="64"/>
                  <a:pt x="228" y="87"/>
                  <a:pt x="215" y="111"/>
                </a:cubicBezTo>
                <a:cubicBezTo>
                  <a:pt x="184" y="165"/>
                  <a:pt x="137" y="253"/>
                  <a:pt x="89" y="362"/>
                </a:cubicBezTo>
                <a:cubicBezTo>
                  <a:pt x="57" y="437"/>
                  <a:pt x="27" y="515"/>
                  <a:pt x="0" y="593"/>
                </a:cubicBezTo>
                <a:cubicBezTo>
                  <a:pt x="93" y="685"/>
                  <a:pt x="216" y="829"/>
                  <a:pt x="298" y="1003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6" name="Freeform 9">
            <a:extLst>
              <a:ext uri="{FF2B5EF4-FFF2-40B4-BE49-F238E27FC236}">
                <a16:creationId xmlns:a16="http://schemas.microsoft.com/office/drawing/2014/main" id="{AC845489-855D-B54A-8C62-9C28132F9639}"/>
              </a:ext>
            </a:extLst>
          </p:cNvPr>
          <p:cNvSpPr>
            <a:spLocks/>
          </p:cNvSpPr>
          <p:nvPr/>
        </p:nvSpPr>
        <p:spPr bwMode="auto">
          <a:xfrm>
            <a:off x="6284055" y="2772562"/>
            <a:ext cx="265050" cy="649213"/>
          </a:xfrm>
          <a:custGeom>
            <a:avLst/>
            <a:gdLst>
              <a:gd name="T0" fmla="*/ 135 w 569"/>
              <a:gd name="T1" fmla="*/ 195 h 1394"/>
              <a:gd name="T2" fmla="*/ 183 w 569"/>
              <a:gd name="T3" fmla="*/ 262 h 1394"/>
              <a:gd name="T4" fmla="*/ 184 w 569"/>
              <a:gd name="T5" fmla="*/ 265 h 1394"/>
              <a:gd name="T6" fmla="*/ 231 w 569"/>
              <a:gd name="T7" fmla="*/ 723 h 1394"/>
              <a:gd name="T8" fmla="*/ 175 w 569"/>
              <a:gd name="T9" fmla="*/ 1140 h 1394"/>
              <a:gd name="T10" fmla="*/ 0 w 569"/>
              <a:gd name="T11" fmla="*/ 1394 h 1394"/>
              <a:gd name="T12" fmla="*/ 406 w 569"/>
              <a:gd name="T13" fmla="*/ 1108 h 1394"/>
              <a:gd name="T14" fmla="*/ 569 w 569"/>
              <a:gd name="T15" fmla="*/ 349 h 1394"/>
              <a:gd name="T16" fmla="*/ 558 w 569"/>
              <a:gd name="T17" fmla="*/ 121 h 1394"/>
              <a:gd name="T18" fmla="*/ 549 w 569"/>
              <a:gd name="T19" fmla="*/ 33 h 1394"/>
              <a:gd name="T20" fmla="*/ 514 w 569"/>
              <a:gd name="T21" fmla="*/ 0 h 1394"/>
              <a:gd name="T22" fmla="*/ 497 w 569"/>
              <a:gd name="T23" fmla="*/ 4 h 1394"/>
              <a:gd name="T24" fmla="*/ 496 w 569"/>
              <a:gd name="T25" fmla="*/ 4 h 1394"/>
              <a:gd name="T26" fmla="*/ 496 w 569"/>
              <a:gd name="T27" fmla="*/ 4 h 1394"/>
              <a:gd name="T28" fmla="*/ 471 w 569"/>
              <a:gd name="T29" fmla="*/ 14 h 1394"/>
              <a:gd name="T30" fmla="*/ 407 w 569"/>
              <a:gd name="T31" fmla="*/ 43 h 1394"/>
              <a:gd name="T32" fmla="*/ 398 w 569"/>
              <a:gd name="T33" fmla="*/ 48 h 1394"/>
              <a:gd name="T34" fmla="*/ 161 w 569"/>
              <a:gd name="T35" fmla="*/ 179 h 1394"/>
              <a:gd name="T36" fmla="*/ 135 w 569"/>
              <a:gd name="T37" fmla="*/ 195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69" h="1394">
                <a:moveTo>
                  <a:pt x="135" y="195"/>
                </a:moveTo>
                <a:cubicBezTo>
                  <a:pt x="159" y="207"/>
                  <a:pt x="176" y="231"/>
                  <a:pt x="183" y="262"/>
                </a:cubicBezTo>
                <a:cubicBezTo>
                  <a:pt x="183" y="263"/>
                  <a:pt x="183" y="264"/>
                  <a:pt x="184" y="265"/>
                </a:cubicBezTo>
                <a:cubicBezTo>
                  <a:pt x="195" y="317"/>
                  <a:pt x="231" y="504"/>
                  <a:pt x="231" y="723"/>
                </a:cubicBezTo>
                <a:cubicBezTo>
                  <a:pt x="231" y="880"/>
                  <a:pt x="212" y="1020"/>
                  <a:pt x="175" y="1140"/>
                </a:cubicBezTo>
                <a:cubicBezTo>
                  <a:pt x="135" y="1265"/>
                  <a:pt x="62" y="1346"/>
                  <a:pt x="0" y="1394"/>
                </a:cubicBezTo>
                <a:cubicBezTo>
                  <a:pt x="160" y="1386"/>
                  <a:pt x="304" y="1285"/>
                  <a:pt x="406" y="1108"/>
                </a:cubicBezTo>
                <a:cubicBezTo>
                  <a:pt x="540" y="872"/>
                  <a:pt x="569" y="565"/>
                  <a:pt x="569" y="349"/>
                </a:cubicBezTo>
                <a:cubicBezTo>
                  <a:pt x="569" y="273"/>
                  <a:pt x="565" y="196"/>
                  <a:pt x="558" y="121"/>
                </a:cubicBezTo>
                <a:cubicBezTo>
                  <a:pt x="553" y="66"/>
                  <a:pt x="549" y="33"/>
                  <a:pt x="549" y="33"/>
                </a:cubicBezTo>
                <a:cubicBezTo>
                  <a:pt x="544" y="11"/>
                  <a:pt x="533" y="0"/>
                  <a:pt x="514" y="0"/>
                </a:cubicBezTo>
                <a:cubicBezTo>
                  <a:pt x="510" y="0"/>
                  <a:pt x="504" y="0"/>
                  <a:pt x="497" y="4"/>
                </a:cubicBezTo>
                <a:cubicBezTo>
                  <a:pt x="496" y="4"/>
                  <a:pt x="496" y="4"/>
                  <a:pt x="496" y="4"/>
                </a:cubicBezTo>
                <a:cubicBezTo>
                  <a:pt x="496" y="4"/>
                  <a:pt x="496" y="4"/>
                  <a:pt x="496" y="4"/>
                </a:cubicBezTo>
                <a:cubicBezTo>
                  <a:pt x="496" y="4"/>
                  <a:pt x="487" y="7"/>
                  <a:pt x="471" y="14"/>
                </a:cubicBezTo>
                <a:cubicBezTo>
                  <a:pt x="455" y="21"/>
                  <a:pt x="434" y="31"/>
                  <a:pt x="407" y="43"/>
                </a:cubicBezTo>
                <a:cubicBezTo>
                  <a:pt x="398" y="48"/>
                  <a:pt x="398" y="48"/>
                  <a:pt x="398" y="48"/>
                </a:cubicBezTo>
                <a:cubicBezTo>
                  <a:pt x="316" y="87"/>
                  <a:pt x="236" y="132"/>
                  <a:pt x="161" y="179"/>
                </a:cubicBezTo>
                <a:cubicBezTo>
                  <a:pt x="152" y="184"/>
                  <a:pt x="144" y="189"/>
                  <a:pt x="135" y="195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7" name="Freeform 10">
            <a:extLst>
              <a:ext uri="{FF2B5EF4-FFF2-40B4-BE49-F238E27FC236}">
                <a16:creationId xmlns:a16="http://schemas.microsoft.com/office/drawing/2014/main" id="{C4B838E7-1D2A-054B-BBD9-2899EFCCBFD4}"/>
              </a:ext>
            </a:extLst>
          </p:cNvPr>
          <p:cNvSpPr>
            <a:spLocks/>
          </p:cNvSpPr>
          <p:nvPr/>
        </p:nvSpPr>
        <p:spPr bwMode="auto">
          <a:xfrm>
            <a:off x="6200381" y="2687412"/>
            <a:ext cx="161442" cy="205986"/>
          </a:xfrm>
          <a:custGeom>
            <a:avLst/>
            <a:gdLst>
              <a:gd name="T0" fmla="*/ 347 w 347"/>
              <a:gd name="T1" fmla="*/ 282 h 442"/>
              <a:gd name="T2" fmla="*/ 283 w 347"/>
              <a:gd name="T3" fmla="*/ 30 h 442"/>
              <a:gd name="T4" fmla="*/ 282 w 347"/>
              <a:gd name="T5" fmla="*/ 27 h 442"/>
              <a:gd name="T6" fmla="*/ 249 w 347"/>
              <a:gd name="T7" fmla="*/ 0 h 442"/>
              <a:gd name="T8" fmla="*/ 242 w 347"/>
              <a:gd name="T9" fmla="*/ 0 h 442"/>
              <a:gd name="T10" fmla="*/ 242 w 347"/>
              <a:gd name="T11" fmla="*/ 0 h 442"/>
              <a:gd name="T12" fmla="*/ 242 w 347"/>
              <a:gd name="T13" fmla="*/ 0 h 442"/>
              <a:gd name="T14" fmla="*/ 227 w 347"/>
              <a:gd name="T15" fmla="*/ 7 h 442"/>
              <a:gd name="T16" fmla="*/ 226 w 347"/>
              <a:gd name="T17" fmla="*/ 7 h 442"/>
              <a:gd name="T18" fmla="*/ 226 w 347"/>
              <a:gd name="T19" fmla="*/ 7 h 442"/>
              <a:gd name="T20" fmla="*/ 136 w 347"/>
              <a:gd name="T21" fmla="*/ 68 h 442"/>
              <a:gd name="T22" fmla="*/ 0 w 347"/>
              <a:gd name="T23" fmla="*/ 173 h 442"/>
              <a:gd name="T24" fmla="*/ 113 w 347"/>
              <a:gd name="T25" fmla="*/ 442 h 442"/>
              <a:gd name="T26" fmla="*/ 347 w 347"/>
              <a:gd name="T27" fmla="*/ 28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47" h="442">
                <a:moveTo>
                  <a:pt x="347" y="282"/>
                </a:moveTo>
                <a:cubicBezTo>
                  <a:pt x="322" y="157"/>
                  <a:pt x="294" y="64"/>
                  <a:pt x="283" y="30"/>
                </a:cubicBezTo>
                <a:cubicBezTo>
                  <a:pt x="282" y="28"/>
                  <a:pt x="282" y="28"/>
                  <a:pt x="282" y="27"/>
                </a:cubicBezTo>
                <a:cubicBezTo>
                  <a:pt x="275" y="9"/>
                  <a:pt x="264" y="0"/>
                  <a:pt x="249" y="0"/>
                </a:cubicBezTo>
                <a:cubicBezTo>
                  <a:pt x="247" y="0"/>
                  <a:pt x="245" y="0"/>
                  <a:pt x="242" y="0"/>
                </a:cubicBezTo>
                <a:cubicBezTo>
                  <a:pt x="242" y="0"/>
                  <a:pt x="242" y="0"/>
                  <a:pt x="242" y="0"/>
                </a:cubicBezTo>
                <a:cubicBezTo>
                  <a:pt x="242" y="0"/>
                  <a:pt x="242" y="0"/>
                  <a:pt x="242" y="0"/>
                </a:cubicBezTo>
                <a:cubicBezTo>
                  <a:pt x="237" y="1"/>
                  <a:pt x="232" y="3"/>
                  <a:pt x="227" y="7"/>
                </a:cubicBezTo>
                <a:cubicBezTo>
                  <a:pt x="226" y="7"/>
                  <a:pt x="226" y="7"/>
                  <a:pt x="226" y="7"/>
                </a:cubicBezTo>
                <a:cubicBezTo>
                  <a:pt x="226" y="7"/>
                  <a:pt x="226" y="7"/>
                  <a:pt x="226" y="7"/>
                </a:cubicBezTo>
                <a:cubicBezTo>
                  <a:pt x="226" y="7"/>
                  <a:pt x="191" y="29"/>
                  <a:pt x="136" y="68"/>
                </a:cubicBezTo>
                <a:cubicBezTo>
                  <a:pt x="106" y="89"/>
                  <a:pt x="58" y="125"/>
                  <a:pt x="0" y="173"/>
                </a:cubicBezTo>
                <a:cubicBezTo>
                  <a:pt x="42" y="262"/>
                  <a:pt x="80" y="352"/>
                  <a:pt x="113" y="442"/>
                </a:cubicBezTo>
                <a:cubicBezTo>
                  <a:pt x="183" y="387"/>
                  <a:pt x="260" y="334"/>
                  <a:pt x="347" y="282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8" name="Freeform 11">
            <a:extLst>
              <a:ext uri="{FF2B5EF4-FFF2-40B4-BE49-F238E27FC236}">
                <a16:creationId xmlns:a16="http://schemas.microsoft.com/office/drawing/2014/main" id="{7A912802-9682-2845-8407-2273FDED8AFF}"/>
              </a:ext>
            </a:extLst>
          </p:cNvPr>
          <p:cNvSpPr>
            <a:spLocks/>
          </p:cNvSpPr>
          <p:nvPr/>
        </p:nvSpPr>
        <p:spPr bwMode="auto">
          <a:xfrm>
            <a:off x="5453958" y="2959352"/>
            <a:ext cx="175962" cy="182114"/>
          </a:xfrm>
          <a:custGeom>
            <a:avLst/>
            <a:gdLst>
              <a:gd name="T0" fmla="*/ 166 w 378"/>
              <a:gd name="T1" fmla="*/ 391 h 391"/>
              <a:gd name="T2" fmla="*/ 378 w 378"/>
              <a:gd name="T3" fmla="*/ 298 h 391"/>
              <a:gd name="T4" fmla="*/ 353 w 378"/>
              <a:gd name="T5" fmla="*/ 11 h 391"/>
              <a:gd name="T6" fmla="*/ 157 w 378"/>
              <a:gd name="T7" fmla="*/ 0 h 391"/>
              <a:gd name="T8" fmla="*/ 132 w 378"/>
              <a:gd name="T9" fmla="*/ 0 h 391"/>
              <a:gd name="T10" fmla="*/ 57 w 378"/>
              <a:gd name="T11" fmla="*/ 1 h 391"/>
              <a:gd name="T12" fmla="*/ 10 w 378"/>
              <a:gd name="T13" fmla="*/ 29 h 391"/>
              <a:gd name="T14" fmla="*/ 1 w 378"/>
              <a:gd name="T15" fmla="*/ 64 h 391"/>
              <a:gd name="T16" fmla="*/ 166 w 378"/>
              <a:gd name="T17" fmla="*/ 39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8" h="391">
                <a:moveTo>
                  <a:pt x="166" y="391"/>
                </a:moveTo>
                <a:cubicBezTo>
                  <a:pt x="238" y="355"/>
                  <a:pt x="309" y="324"/>
                  <a:pt x="378" y="298"/>
                </a:cubicBezTo>
                <a:cubicBezTo>
                  <a:pt x="364" y="209"/>
                  <a:pt x="355" y="113"/>
                  <a:pt x="353" y="11"/>
                </a:cubicBezTo>
                <a:cubicBezTo>
                  <a:pt x="267" y="3"/>
                  <a:pt x="200" y="1"/>
                  <a:pt x="157" y="0"/>
                </a:cubicBezTo>
                <a:cubicBezTo>
                  <a:pt x="148" y="0"/>
                  <a:pt x="140" y="0"/>
                  <a:pt x="132" y="0"/>
                </a:cubicBezTo>
                <a:cubicBezTo>
                  <a:pt x="85" y="0"/>
                  <a:pt x="57" y="1"/>
                  <a:pt x="57" y="1"/>
                </a:cubicBezTo>
                <a:cubicBezTo>
                  <a:pt x="39" y="2"/>
                  <a:pt x="21" y="13"/>
                  <a:pt x="10" y="29"/>
                </a:cubicBezTo>
                <a:cubicBezTo>
                  <a:pt x="4" y="39"/>
                  <a:pt x="0" y="52"/>
                  <a:pt x="1" y="64"/>
                </a:cubicBezTo>
                <a:cubicBezTo>
                  <a:pt x="4" y="96"/>
                  <a:pt x="26" y="214"/>
                  <a:pt x="166" y="391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9" name="Freeform 12">
            <a:extLst>
              <a:ext uri="{FF2B5EF4-FFF2-40B4-BE49-F238E27FC236}">
                <a16:creationId xmlns:a16="http://schemas.microsoft.com/office/drawing/2014/main" id="{BDC55074-02B9-1D4F-812E-9046E6B6C0D1}"/>
              </a:ext>
            </a:extLst>
          </p:cNvPr>
          <p:cNvSpPr>
            <a:spLocks/>
          </p:cNvSpPr>
          <p:nvPr/>
        </p:nvSpPr>
        <p:spPr bwMode="auto">
          <a:xfrm>
            <a:off x="6566578" y="2959352"/>
            <a:ext cx="176454" cy="182114"/>
          </a:xfrm>
          <a:custGeom>
            <a:avLst/>
            <a:gdLst>
              <a:gd name="T0" fmla="*/ 378 w 379"/>
              <a:gd name="T1" fmla="*/ 64 h 391"/>
              <a:gd name="T2" fmla="*/ 369 w 379"/>
              <a:gd name="T3" fmla="*/ 29 h 391"/>
              <a:gd name="T4" fmla="*/ 322 w 379"/>
              <a:gd name="T5" fmla="*/ 1 h 391"/>
              <a:gd name="T6" fmla="*/ 247 w 379"/>
              <a:gd name="T7" fmla="*/ 0 h 391"/>
              <a:gd name="T8" fmla="*/ 221 w 379"/>
              <a:gd name="T9" fmla="*/ 0 h 391"/>
              <a:gd name="T10" fmla="*/ 26 w 379"/>
              <a:gd name="T11" fmla="*/ 11 h 391"/>
              <a:gd name="T12" fmla="*/ 0 w 379"/>
              <a:gd name="T13" fmla="*/ 298 h 391"/>
              <a:gd name="T14" fmla="*/ 213 w 379"/>
              <a:gd name="T15" fmla="*/ 391 h 391"/>
              <a:gd name="T16" fmla="*/ 378 w 379"/>
              <a:gd name="T17" fmla="*/ 64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9" h="391">
                <a:moveTo>
                  <a:pt x="378" y="64"/>
                </a:moveTo>
                <a:cubicBezTo>
                  <a:pt x="379" y="53"/>
                  <a:pt x="373" y="36"/>
                  <a:pt x="369" y="29"/>
                </a:cubicBezTo>
                <a:cubicBezTo>
                  <a:pt x="357" y="13"/>
                  <a:pt x="340" y="2"/>
                  <a:pt x="322" y="1"/>
                </a:cubicBezTo>
                <a:cubicBezTo>
                  <a:pt x="321" y="1"/>
                  <a:pt x="293" y="0"/>
                  <a:pt x="247" y="0"/>
                </a:cubicBezTo>
                <a:cubicBezTo>
                  <a:pt x="239" y="0"/>
                  <a:pt x="230" y="0"/>
                  <a:pt x="221" y="0"/>
                </a:cubicBezTo>
                <a:cubicBezTo>
                  <a:pt x="179" y="1"/>
                  <a:pt x="112" y="3"/>
                  <a:pt x="26" y="11"/>
                </a:cubicBezTo>
                <a:cubicBezTo>
                  <a:pt x="23" y="109"/>
                  <a:pt x="15" y="206"/>
                  <a:pt x="0" y="298"/>
                </a:cubicBezTo>
                <a:cubicBezTo>
                  <a:pt x="69" y="324"/>
                  <a:pt x="141" y="355"/>
                  <a:pt x="213" y="391"/>
                </a:cubicBezTo>
                <a:cubicBezTo>
                  <a:pt x="353" y="213"/>
                  <a:pt x="375" y="96"/>
                  <a:pt x="378" y="64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0" name="Freeform 13">
            <a:extLst>
              <a:ext uri="{FF2B5EF4-FFF2-40B4-BE49-F238E27FC236}">
                <a16:creationId xmlns:a16="http://schemas.microsoft.com/office/drawing/2014/main" id="{8178B616-D448-CF4D-8C4B-F6F871741891}"/>
              </a:ext>
            </a:extLst>
          </p:cNvPr>
          <p:cNvSpPr>
            <a:spLocks/>
          </p:cNvSpPr>
          <p:nvPr/>
        </p:nvSpPr>
        <p:spPr bwMode="auto">
          <a:xfrm>
            <a:off x="6390617" y="3128423"/>
            <a:ext cx="412710" cy="290644"/>
          </a:xfrm>
          <a:custGeom>
            <a:avLst/>
            <a:gdLst>
              <a:gd name="T0" fmla="*/ 862 w 886"/>
              <a:gd name="T1" fmla="*/ 266 h 624"/>
              <a:gd name="T2" fmla="*/ 841 w 886"/>
              <a:gd name="T3" fmla="*/ 252 h 624"/>
              <a:gd name="T4" fmla="*/ 840 w 886"/>
              <a:gd name="T5" fmla="*/ 252 h 624"/>
              <a:gd name="T6" fmla="*/ 840 w 886"/>
              <a:gd name="T7" fmla="*/ 251 h 624"/>
              <a:gd name="T8" fmla="*/ 795 w 886"/>
              <a:gd name="T9" fmla="*/ 221 h 624"/>
              <a:gd name="T10" fmla="*/ 779 w 886"/>
              <a:gd name="T11" fmla="*/ 210 h 624"/>
              <a:gd name="T12" fmla="*/ 560 w 886"/>
              <a:gd name="T13" fmla="*/ 86 h 624"/>
              <a:gd name="T14" fmla="*/ 367 w 886"/>
              <a:gd name="T15" fmla="*/ 0 h 624"/>
              <a:gd name="T16" fmla="*/ 233 w 886"/>
              <a:gd name="T17" fmla="*/ 376 h 624"/>
              <a:gd name="T18" fmla="*/ 0 w 886"/>
              <a:gd name="T19" fmla="*/ 624 h 624"/>
              <a:gd name="T20" fmla="*/ 876 w 886"/>
              <a:gd name="T21" fmla="*/ 348 h 624"/>
              <a:gd name="T22" fmla="*/ 876 w 886"/>
              <a:gd name="T23" fmla="*/ 348 h 624"/>
              <a:gd name="T24" fmla="*/ 886 w 886"/>
              <a:gd name="T25" fmla="*/ 315 h 624"/>
              <a:gd name="T26" fmla="*/ 862 w 886"/>
              <a:gd name="T27" fmla="*/ 266 h 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86" h="624">
                <a:moveTo>
                  <a:pt x="862" y="266"/>
                </a:moveTo>
                <a:cubicBezTo>
                  <a:pt x="862" y="266"/>
                  <a:pt x="855" y="261"/>
                  <a:pt x="841" y="252"/>
                </a:cubicBezTo>
                <a:cubicBezTo>
                  <a:pt x="840" y="252"/>
                  <a:pt x="840" y="252"/>
                  <a:pt x="840" y="252"/>
                </a:cubicBezTo>
                <a:cubicBezTo>
                  <a:pt x="840" y="251"/>
                  <a:pt x="840" y="251"/>
                  <a:pt x="840" y="251"/>
                </a:cubicBezTo>
                <a:cubicBezTo>
                  <a:pt x="830" y="243"/>
                  <a:pt x="814" y="233"/>
                  <a:pt x="795" y="221"/>
                </a:cubicBezTo>
                <a:cubicBezTo>
                  <a:pt x="790" y="217"/>
                  <a:pt x="785" y="214"/>
                  <a:pt x="779" y="210"/>
                </a:cubicBezTo>
                <a:cubicBezTo>
                  <a:pt x="731" y="180"/>
                  <a:pt x="654" y="133"/>
                  <a:pt x="560" y="86"/>
                </a:cubicBezTo>
                <a:cubicBezTo>
                  <a:pt x="495" y="53"/>
                  <a:pt x="430" y="24"/>
                  <a:pt x="367" y="0"/>
                </a:cubicBezTo>
                <a:cubicBezTo>
                  <a:pt x="338" y="145"/>
                  <a:pt x="293" y="271"/>
                  <a:pt x="233" y="376"/>
                </a:cubicBezTo>
                <a:cubicBezTo>
                  <a:pt x="170" y="486"/>
                  <a:pt x="92" y="569"/>
                  <a:pt x="0" y="624"/>
                </a:cubicBezTo>
                <a:cubicBezTo>
                  <a:pt x="668" y="588"/>
                  <a:pt x="856" y="373"/>
                  <a:pt x="876" y="348"/>
                </a:cubicBezTo>
                <a:cubicBezTo>
                  <a:pt x="876" y="348"/>
                  <a:pt x="876" y="348"/>
                  <a:pt x="876" y="348"/>
                </a:cubicBezTo>
                <a:cubicBezTo>
                  <a:pt x="883" y="338"/>
                  <a:pt x="886" y="327"/>
                  <a:pt x="886" y="315"/>
                </a:cubicBezTo>
                <a:cubicBezTo>
                  <a:pt x="886" y="296"/>
                  <a:pt x="877" y="277"/>
                  <a:pt x="862" y="266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1" name="Freeform 14">
            <a:extLst>
              <a:ext uri="{FF2B5EF4-FFF2-40B4-BE49-F238E27FC236}">
                <a16:creationId xmlns:a16="http://schemas.microsoft.com/office/drawing/2014/main" id="{52DDA9A9-DE8C-3E45-B619-CE5D4A033244}"/>
              </a:ext>
            </a:extLst>
          </p:cNvPr>
          <p:cNvSpPr>
            <a:spLocks/>
          </p:cNvSpPr>
          <p:nvPr/>
        </p:nvSpPr>
        <p:spPr bwMode="auto">
          <a:xfrm>
            <a:off x="6133688" y="3441955"/>
            <a:ext cx="416156" cy="66447"/>
          </a:xfrm>
          <a:custGeom>
            <a:avLst/>
            <a:gdLst>
              <a:gd name="T0" fmla="*/ 835 w 894"/>
              <a:gd name="T1" fmla="*/ 0 h 143"/>
              <a:gd name="T2" fmla="*/ 673 w 894"/>
              <a:gd name="T3" fmla="*/ 18 h 143"/>
              <a:gd name="T4" fmla="*/ 638 w 894"/>
              <a:gd name="T5" fmla="*/ 23 h 143"/>
              <a:gd name="T6" fmla="*/ 509 w 894"/>
              <a:gd name="T7" fmla="*/ 30 h 143"/>
              <a:gd name="T8" fmla="*/ 405 w 894"/>
              <a:gd name="T9" fmla="*/ 28 h 143"/>
              <a:gd name="T10" fmla="*/ 402 w 894"/>
              <a:gd name="T11" fmla="*/ 28 h 143"/>
              <a:gd name="T12" fmla="*/ 289 w 894"/>
              <a:gd name="T13" fmla="*/ 26 h 143"/>
              <a:gd name="T14" fmla="*/ 8 w 894"/>
              <a:gd name="T15" fmla="*/ 56 h 143"/>
              <a:gd name="T16" fmla="*/ 0 w 894"/>
              <a:gd name="T17" fmla="*/ 65 h 143"/>
              <a:gd name="T18" fmla="*/ 11 w 894"/>
              <a:gd name="T19" fmla="*/ 69 h 143"/>
              <a:gd name="T20" fmla="*/ 16 w 894"/>
              <a:gd name="T21" fmla="*/ 69 h 143"/>
              <a:gd name="T22" fmla="*/ 122 w 894"/>
              <a:gd name="T23" fmla="*/ 64 h 143"/>
              <a:gd name="T24" fmla="*/ 407 w 894"/>
              <a:gd name="T25" fmla="*/ 105 h 143"/>
              <a:gd name="T26" fmla="*/ 653 w 894"/>
              <a:gd name="T27" fmla="*/ 143 h 143"/>
              <a:gd name="T28" fmla="*/ 878 w 894"/>
              <a:gd name="T29" fmla="*/ 82 h 143"/>
              <a:gd name="T30" fmla="*/ 893 w 894"/>
              <a:gd name="T31" fmla="*/ 41 h 143"/>
              <a:gd name="T32" fmla="*/ 835 w 894"/>
              <a:gd name="T33" fmla="*/ 0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94" h="143">
                <a:moveTo>
                  <a:pt x="835" y="0"/>
                </a:moveTo>
                <a:cubicBezTo>
                  <a:pt x="801" y="0"/>
                  <a:pt x="750" y="7"/>
                  <a:pt x="673" y="18"/>
                </a:cubicBezTo>
                <a:cubicBezTo>
                  <a:pt x="662" y="19"/>
                  <a:pt x="650" y="21"/>
                  <a:pt x="638" y="23"/>
                </a:cubicBezTo>
                <a:cubicBezTo>
                  <a:pt x="604" y="27"/>
                  <a:pt x="563" y="30"/>
                  <a:pt x="509" y="30"/>
                </a:cubicBezTo>
                <a:cubicBezTo>
                  <a:pt x="476" y="30"/>
                  <a:pt x="442" y="29"/>
                  <a:pt x="405" y="28"/>
                </a:cubicBezTo>
                <a:cubicBezTo>
                  <a:pt x="402" y="28"/>
                  <a:pt x="402" y="28"/>
                  <a:pt x="402" y="28"/>
                </a:cubicBezTo>
                <a:cubicBezTo>
                  <a:pt x="367" y="27"/>
                  <a:pt x="328" y="26"/>
                  <a:pt x="289" y="26"/>
                </a:cubicBezTo>
                <a:cubicBezTo>
                  <a:pt x="207" y="26"/>
                  <a:pt x="101" y="30"/>
                  <a:pt x="8" y="56"/>
                </a:cubicBezTo>
                <a:cubicBezTo>
                  <a:pt x="3" y="57"/>
                  <a:pt x="0" y="62"/>
                  <a:pt x="0" y="65"/>
                </a:cubicBezTo>
                <a:cubicBezTo>
                  <a:pt x="1" y="68"/>
                  <a:pt x="6" y="69"/>
                  <a:pt x="11" y="69"/>
                </a:cubicBezTo>
                <a:cubicBezTo>
                  <a:pt x="13" y="69"/>
                  <a:pt x="14" y="69"/>
                  <a:pt x="16" y="69"/>
                </a:cubicBezTo>
                <a:cubicBezTo>
                  <a:pt x="53" y="66"/>
                  <a:pt x="88" y="64"/>
                  <a:pt x="122" y="64"/>
                </a:cubicBezTo>
                <a:cubicBezTo>
                  <a:pt x="244" y="64"/>
                  <a:pt x="327" y="85"/>
                  <a:pt x="407" y="105"/>
                </a:cubicBezTo>
                <a:cubicBezTo>
                  <a:pt x="483" y="125"/>
                  <a:pt x="554" y="143"/>
                  <a:pt x="653" y="143"/>
                </a:cubicBezTo>
                <a:cubicBezTo>
                  <a:pt x="759" y="143"/>
                  <a:pt x="843" y="120"/>
                  <a:pt x="878" y="82"/>
                </a:cubicBezTo>
                <a:cubicBezTo>
                  <a:pt x="889" y="70"/>
                  <a:pt x="894" y="56"/>
                  <a:pt x="893" y="41"/>
                </a:cubicBezTo>
                <a:cubicBezTo>
                  <a:pt x="890" y="13"/>
                  <a:pt x="881" y="0"/>
                  <a:pt x="835" y="0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2" name="Freeform 15">
            <a:extLst>
              <a:ext uri="{FF2B5EF4-FFF2-40B4-BE49-F238E27FC236}">
                <a16:creationId xmlns:a16="http://schemas.microsoft.com/office/drawing/2014/main" id="{1E0441EA-F5E5-4140-99BC-D43934EE51BA}"/>
              </a:ext>
            </a:extLst>
          </p:cNvPr>
          <p:cNvSpPr>
            <a:spLocks/>
          </p:cNvSpPr>
          <p:nvPr/>
        </p:nvSpPr>
        <p:spPr bwMode="auto">
          <a:xfrm>
            <a:off x="5835168" y="2687412"/>
            <a:ext cx="161688" cy="205986"/>
          </a:xfrm>
          <a:custGeom>
            <a:avLst/>
            <a:gdLst>
              <a:gd name="T0" fmla="*/ 347 w 347"/>
              <a:gd name="T1" fmla="*/ 173 h 442"/>
              <a:gd name="T2" fmla="*/ 210 w 347"/>
              <a:gd name="T3" fmla="*/ 68 h 442"/>
              <a:gd name="T4" fmla="*/ 120 w 347"/>
              <a:gd name="T5" fmla="*/ 7 h 442"/>
              <a:gd name="T6" fmla="*/ 120 w 347"/>
              <a:gd name="T7" fmla="*/ 7 h 442"/>
              <a:gd name="T8" fmla="*/ 120 w 347"/>
              <a:gd name="T9" fmla="*/ 7 h 442"/>
              <a:gd name="T10" fmla="*/ 105 w 347"/>
              <a:gd name="T11" fmla="*/ 0 h 442"/>
              <a:gd name="T12" fmla="*/ 105 w 347"/>
              <a:gd name="T13" fmla="*/ 0 h 442"/>
              <a:gd name="T14" fmla="*/ 104 w 347"/>
              <a:gd name="T15" fmla="*/ 0 h 442"/>
              <a:gd name="T16" fmla="*/ 98 w 347"/>
              <a:gd name="T17" fmla="*/ 0 h 442"/>
              <a:gd name="T18" fmla="*/ 65 w 347"/>
              <a:gd name="T19" fmla="*/ 27 h 442"/>
              <a:gd name="T20" fmla="*/ 64 w 347"/>
              <a:gd name="T21" fmla="*/ 30 h 442"/>
              <a:gd name="T22" fmla="*/ 0 w 347"/>
              <a:gd name="T23" fmla="*/ 282 h 442"/>
              <a:gd name="T24" fmla="*/ 233 w 347"/>
              <a:gd name="T25" fmla="*/ 442 h 442"/>
              <a:gd name="T26" fmla="*/ 347 w 347"/>
              <a:gd name="T27" fmla="*/ 173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47" h="442">
                <a:moveTo>
                  <a:pt x="347" y="173"/>
                </a:moveTo>
                <a:cubicBezTo>
                  <a:pt x="301" y="135"/>
                  <a:pt x="255" y="100"/>
                  <a:pt x="210" y="68"/>
                </a:cubicBezTo>
                <a:cubicBezTo>
                  <a:pt x="156" y="29"/>
                  <a:pt x="121" y="7"/>
                  <a:pt x="120" y="7"/>
                </a:cubicBezTo>
                <a:cubicBezTo>
                  <a:pt x="120" y="7"/>
                  <a:pt x="120" y="7"/>
                  <a:pt x="120" y="7"/>
                </a:cubicBezTo>
                <a:cubicBezTo>
                  <a:pt x="120" y="7"/>
                  <a:pt x="120" y="7"/>
                  <a:pt x="120" y="7"/>
                </a:cubicBezTo>
                <a:cubicBezTo>
                  <a:pt x="115" y="3"/>
                  <a:pt x="110" y="1"/>
                  <a:pt x="105" y="0"/>
                </a:cubicBezTo>
                <a:cubicBezTo>
                  <a:pt x="105" y="0"/>
                  <a:pt x="105" y="0"/>
                  <a:pt x="105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02" y="0"/>
                  <a:pt x="100" y="0"/>
                  <a:pt x="98" y="0"/>
                </a:cubicBezTo>
                <a:cubicBezTo>
                  <a:pt x="83" y="0"/>
                  <a:pt x="72" y="9"/>
                  <a:pt x="65" y="27"/>
                </a:cubicBezTo>
                <a:cubicBezTo>
                  <a:pt x="65" y="28"/>
                  <a:pt x="64" y="28"/>
                  <a:pt x="64" y="30"/>
                </a:cubicBezTo>
                <a:cubicBezTo>
                  <a:pt x="53" y="64"/>
                  <a:pt x="25" y="157"/>
                  <a:pt x="0" y="282"/>
                </a:cubicBezTo>
                <a:cubicBezTo>
                  <a:pt x="87" y="334"/>
                  <a:pt x="164" y="387"/>
                  <a:pt x="233" y="442"/>
                </a:cubicBezTo>
                <a:cubicBezTo>
                  <a:pt x="265" y="355"/>
                  <a:pt x="303" y="265"/>
                  <a:pt x="347" y="173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3" name="Freeform 16">
            <a:extLst>
              <a:ext uri="{FF2B5EF4-FFF2-40B4-BE49-F238E27FC236}">
                <a16:creationId xmlns:a16="http://schemas.microsoft.com/office/drawing/2014/main" id="{9C37A78A-E89F-594B-AB9D-6A316D64F392}"/>
              </a:ext>
            </a:extLst>
          </p:cNvPr>
          <p:cNvSpPr>
            <a:spLocks/>
          </p:cNvSpPr>
          <p:nvPr/>
        </p:nvSpPr>
        <p:spPr bwMode="auto">
          <a:xfrm>
            <a:off x="5393910" y="3128423"/>
            <a:ext cx="412464" cy="291137"/>
          </a:xfrm>
          <a:custGeom>
            <a:avLst/>
            <a:gdLst>
              <a:gd name="T0" fmla="*/ 653 w 886"/>
              <a:gd name="T1" fmla="*/ 376 h 625"/>
              <a:gd name="T2" fmla="*/ 519 w 886"/>
              <a:gd name="T3" fmla="*/ 0 h 625"/>
              <a:gd name="T4" fmla="*/ 45 w 886"/>
              <a:gd name="T5" fmla="*/ 252 h 625"/>
              <a:gd name="T6" fmla="*/ 23 w 886"/>
              <a:gd name="T7" fmla="*/ 267 h 625"/>
              <a:gd name="T8" fmla="*/ 0 w 886"/>
              <a:gd name="T9" fmla="*/ 315 h 625"/>
              <a:gd name="T10" fmla="*/ 10 w 886"/>
              <a:gd name="T11" fmla="*/ 348 h 625"/>
              <a:gd name="T12" fmla="*/ 11 w 886"/>
              <a:gd name="T13" fmla="*/ 350 h 625"/>
              <a:gd name="T14" fmla="*/ 15 w 886"/>
              <a:gd name="T15" fmla="*/ 355 h 625"/>
              <a:gd name="T16" fmla="*/ 18 w 886"/>
              <a:gd name="T17" fmla="*/ 358 h 625"/>
              <a:gd name="T18" fmla="*/ 50 w 886"/>
              <a:gd name="T19" fmla="*/ 388 h 625"/>
              <a:gd name="T20" fmla="*/ 210 w 886"/>
              <a:gd name="T21" fmla="*/ 485 h 625"/>
              <a:gd name="T22" fmla="*/ 886 w 886"/>
              <a:gd name="T23" fmla="*/ 625 h 625"/>
              <a:gd name="T24" fmla="*/ 653 w 886"/>
              <a:gd name="T25" fmla="*/ 376 h 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86" h="625">
                <a:moveTo>
                  <a:pt x="653" y="376"/>
                </a:moveTo>
                <a:cubicBezTo>
                  <a:pt x="593" y="271"/>
                  <a:pt x="548" y="145"/>
                  <a:pt x="519" y="0"/>
                </a:cubicBezTo>
                <a:cubicBezTo>
                  <a:pt x="294" y="85"/>
                  <a:pt x="113" y="204"/>
                  <a:pt x="45" y="252"/>
                </a:cubicBezTo>
                <a:cubicBezTo>
                  <a:pt x="31" y="261"/>
                  <a:pt x="23" y="267"/>
                  <a:pt x="23" y="267"/>
                </a:cubicBezTo>
                <a:cubicBezTo>
                  <a:pt x="9" y="277"/>
                  <a:pt x="0" y="296"/>
                  <a:pt x="0" y="315"/>
                </a:cubicBezTo>
                <a:cubicBezTo>
                  <a:pt x="0" y="327"/>
                  <a:pt x="3" y="338"/>
                  <a:pt x="10" y="348"/>
                </a:cubicBezTo>
                <a:cubicBezTo>
                  <a:pt x="10" y="349"/>
                  <a:pt x="10" y="349"/>
                  <a:pt x="11" y="350"/>
                </a:cubicBezTo>
                <a:cubicBezTo>
                  <a:pt x="12" y="351"/>
                  <a:pt x="13" y="353"/>
                  <a:pt x="15" y="355"/>
                </a:cubicBezTo>
                <a:cubicBezTo>
                  <a:pt x="16" y="356"/>
                  <a:pt x="17" y="357"/>
                  <a:pt x="18" y="358"/>
                </a:cubicBezTo>
                <a:cubicBezTo>
                  <a:pt x="22" y="363"/>
                  <a:pt x="33" y="374"/>
                  <a:pt x="50" y="388"/>
                </a:cubicBezTo>
                <a:cubicBezTo>
                  <a:pt x="78" y="412"/>
                  <a:pt x="128" y="449"/>
                  <a:pt x="210" y="485"/>
                </a:cubicBezTo>
                <a:cubicBezTo>
                  <a:pt x="378" y="561"/>
                  <a:pt x="611" y="610"/>
                  <a:pt x="886" y="625"/>
                </a:cubicBezTo>
                <a:cubicBezTo>
                  <a:pt x="795" y="570"/>
                  <a:pt x="715" y="485"/>
                  <a:pt x="653" y="376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4" name="Freeform 17">
            <a:extLst>
              <a:ext uri="{FF2B5EF4-FFF2-40B4-BE49-F238E27FC236}">
                <a16:creationId xmlns:a16="http://schemas.microsoft.com/office/drawing/2014/main" id="{413B4265-9321-F644-8A68-4AA5679F2ECD}"/>
              </a:ext>
            </a:extLst>
          </p:cNvPr>
          <p:cNvSpPr>
            <a:spLocks/>
          </p:cNvSpPr>
          <p:nvPr/>
        </p:nvSpPr>
        <p:spPr bwMode="auto">
          <a:xfrm>
            <a:off x="5646655" y="3441955"/>
            <a:ext cx="416648" cy="66447"/>
          </a:xfrm>
          <a:custGeom>
            <a:avLst/>
            <a:gdLst>
              <a:gd name="T0" fmla="*/ 887 w 895"/>
              <a:gd name="T1" fmla="*/ 56 h 143"/>
              <a:gd name="T2" fmla="*/ 606 w 895"/>
              <a:gd name="T3" fmla="*/ 26 h 143"/>
              <a:gd name="T4" fmla="*/ 606 w 895"/>
              <a:gd name="T5" fmla="*/ 26 h 143"/>
              <a:gd name="T6" fmla="*/ 493 w 895"/>
              <a:gd name="T7" fmla="*/ 28 h 143"/>
              <a:gd name="T8" fmla="*/ 490 w 895"/>
              <a:gd name="T9" fmla="*/ 28 h 143"/>
              <a:gd name="T10" fmla="*/ 386 w 895"/>
              <a:gd name="T11" fmla="*/ 30 h 143"/>
              <a:gd name="T12" fmla="*/ 257 w 895"/>
              <a:gd name="T13" fmla="*/ 23 h 143"/>
              <a:gd name="T14" fmla="*/ 220 w 895"/>
              <a:gd name="T15" fmla="*/ 18 h 143"/>
              <a:gd name="T16" fmla="*/ 60 w 895"/>
              <a:gd name="T17" fmla="*/ 0 h 143"/>
              <a:gd name="T18" fmla="*/ 2 w 895"/>
              <a:gd name="T19" fmla="*/ 41 h 143"/>
              <a:gd name="T20" fmla="*/ 17 w 895"/>
              <a:gd name="T21" fmla="*/ 82 h 143"/>
              <a:gd name="T22" fmla="*/ 241 w 895"/>
              <a:gd name="T23" fmla="*/ 143 h 143"/>
              <a:gd name="T24" fmla="*/ 488 w 895"/>
              <a:gd name="T25" fmla="*/ 105 h 143"/>
              <a:gd name="T26" fmla="*/ 773 w 895"/>
              <a:gd name="T27" fmla="*/ 64 h 143"/>
              <a:gd name="T28" fmla="*/ 879 w 895"/>
              <a:gd name="T29" fmla="*/ 69 h 143"/>
              <a:gd name="T30" fmla="*/ 883 w 895"/>
              <a:gd name="T31" fmla="*/ 69 h 143"/>
              <a:gd name="T32" fmla="*/ 895 w 895"/>
              <a:gd name="T33" fmla="*/ 65 h 143"/>
              <a:gd name="T34" fmla="*/ 887 w 895"/>
              <a:gd name="T35" fmla="*/ 56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95" h="143">
                <a:moveTo>
                  <a:pt x="887" y="56"/>
                </a:moveTo>
                <a:cubicBezTo>
                  <a:pt x="794" y="30"/>
                  <a:pt x="688" y="26"/>
                  <a:pt x="606" y="26"/>
                </a:cubicBezTo>
                <a:cubicBezTo>
                  <a:pt x="606" y="26"/>
                  <a:pt x="606" y="26"/>
                  <a:pt x="606" y="26"/>
                </a:cubicBezTo>
                <a:cubicBezTo>
                  <a:pt x="567" y="26"/>
                  <a:pt x="527" y="27"/>
                  <a:pt x="493" y="28"/>
                </a:cubicBezTo>
                <a:cubicBezTo>
                  <a:pt x="490" y="28"/>
                  <a:pt x="490" y="28"/>
                  <a:pt x="490" y="28"/>
                </a:cubicBezTo>
                <a:cubicBezTo>
                  <a:pt x="453" y="29"/>
                  <a:pt x="419" y="30"/>
                  <a:pt x="386" y="30"/>
                </a:cubicBezTo>
                <a:cubicBezTo>
                  <a:pt x="331" y="30"/>
                  <a:pt x="290" y="27"/>
                  <a:pt x="257" y="23"/>
                </a:cubicBezTo>
                <a:cubicBezTo>
                  <a:pt x="244" y="21"/>
                  <a:pt x="232" y="19"/>
                  <a:pt x="220" y="18"/>
                </a:cubicBezTo>
                <a:cubicBezTo>
                  <a:pt x="144" y="7"/>
                  <a:pt x="94" y="0"/>
                  <a:pt x="60" y="0"/>
                </a:cubicBezTo>
                <a:cubicBezTo>
                  <a:pt x="14" y="0"/>
                  <a:pt x="5" y="13"/>
                  <a:pt x="2" y="41"/>
                </a:cubicBezTo>
                <a:cubicBezTo>
                  <a:pt x="0" y="56"/>
                  <a:pt x="5" y="69"/>
                  <a:pt x="17" y="82"/>
                </a:cubicBezTo>
                <a:cubicBezTo>
                  <a:pt x="51" y="119"/>
                  <a:pt x="137" y="143"/>
                  <a:pt x="241" y="143"/>
                </a:cubicBezTo>
                <a:cubicBezTo>
                  <a:pt x="341" y="143"/>
                  <a:pt x="412" y="125"/>
                  <a:pt x="488" y="105"/>
                </a:cubicBezTo>
                <a:cubicBezTo>
                  <a:pt x="568" y="85"/>
                  <a:pt x="651" y="64"/>
                  <a:pt x="773" y="64"/>
                </a:cubicBezTo>
                <a:cubicBezTo>
                  <a:pt x="806" y="64"/>
                  <a:pt x="842" y="66"/>
                  <a:pt x="879" y="69"/>
                </a:cubicBezTo>
                <a:cubicBezTo>
                  <a:pt x="881" y="69"/>
                  <a:pt x="882" y="69"/>
                  <a:pt x="883" y="69"/>
                </a:cubicBezTo>
                <a:cubicBezTo>
                  <a:pt x="888" y="69"/>
                  <a:pt x="894" y="68"/>
                  <a:pt x="895" y="65"/>
                </a:cubicBezTo>
                <a:cubicBezTo>
                  <a:pt x="895" y="62"/>
                  <a:pt x="892" y="57"/>
                  <a:pt x="887" y="56"/>
                </a:cubicBezTo>
                <a:close/>
              </a:path>
            </a:pathLst>
          </a:custGeom>
          <a:solidFill>
            <a:srgbClr val="E21C40"/>
          </a:solidFill>
          <a:ln>
            <a:noFill/>
          </a:ln>
          <a:effectLst>
            <a:reflection endPos="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3777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1.11111E-6 L 0.00651 0.02083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6" y="104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1.11111E-6 L -0.00482 0.02083 " pathEditMode="relative" rAng="0" ptsTypes="AA">
                                      <p:cBhvr>
                                        <p:cTn id="14" dur="75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47" y="104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4.44444E-6 L -0.00299 0.01181 " pathEditMode="relative" rAng="0" ptsTypes="AA">
                                      <p:cBhvr>
                                        <p:cTn id="19" dur="750" spd="-1000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6" y="57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3.7037E-6 L -4.16667E-7 0.01458 " pathEditMode="relative" rAng="0" ptsTypes="AA">
                                      <p:cBhvr>
                                        <p:cTn id="24" dur="750" spd="-100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18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44444E-6 L 0.00273 0.0125 " pathEditMode="relative" rAng="0" ptsTypes="AA">
                                      <p:cBhvr>
                                        <p:cTn id="29" dur="750" spd="-100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" y="625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4.07407E-6 L 0.00703 0.00879 " pathEditMode="relative" rAng="0" ptsTypes="AA">
                                      <p:cBhvr>
                                        <p:cTn id="34" dur="750" spd="-100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2" y="44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4.07407E-6 L -0.00742 0.00833 " pathEditMode="relative" rAng="0" ptsTypes="AA">
                                      <p:cBhvr>
                                        <p:cTn id="39" dur="750" spd="-100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8" y="417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81481E-6 L 0.00873 -4.81481E-6 " pathEditMode="relative" rAng="0" ptsTypes="AA">
                                      <p:cBhvr>
                                        <p:cTn id="44" dur="750" spd="-100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0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873 -4.81481E-6 L 4.16667E-6 -4.81481E-6 " pathEditMode="relative" rAng="0" ptsTypes="AA">
                                      <p:cBhvr>
                                        <p:cTn id="49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0" y="0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2.96296E-6 L 0.01328 -2.96296E-6 " pathEditMode="relative" rAng="0" ptsTypes="AA">
                                      <p:cBhvr>
                                        <p:cTn id="54" dur="750" spd="-100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64" y="0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146 -2.96296E-6 L -2.29167E-6 -2.96296E-6 " pathEditMode="relative" rAng="0" ptsTypes="AA">
                                      <p:cBhvr>
                                        <p:cTn id="59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73" y="0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25E-6 1.11111E-6 L 0.00599 0.01366 " pathEditMode="relative" rAng="0" ptsTypes="AA">
                                      <p:cBhvr>
                                        <p:cTn id="64" dur="75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9" y="671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875E-6 1.11111E-6 L -0.00456 0.01273 " pathEditMode="relative" rAng="0" ptsTypes="AA">
                                      <p:cBhvr>
                                        <p:cTn id="69" dur="750" spd="-100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4" y="625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 animBg="1"/>
      <p:bldP spid="122" grpId="1" animBg="1"/>
      <p:bldP spid="123" grpId="0" animBg="1"/>
      <p:bldP spid="123" grpId="1" animBg="1"/>
      <p:bldP spid="124" grpId="0" animBg="1"/>
      <p:bldP spid="124" grpId="1" animBg="1"/>
      <p:bldP spid="125" grpId="0" animBg="1"/>
      <p:bldP spid="125" grpId="1" animBg="1"/>
      <p:bldP spid="126" grpId="0" animBg="1"/>
      <p:bldP spid="126" grpId="1" animBg="1"/>
      <p:bldP spid="127" grpId="0" animBg="1"/>
      <p:bldP spid="127" grpId="1" animBg="1"/>
      <p:bldP spid="128" grpId="0" animBg="1"/>
      <p:bldP spid="128" grpId="1" animBg="1"/>
      <p:bldP spid="129" grpId="0" animBg="1"/>
      <p:bldP spid="129" grpId="1" animBg="1"/>
      <p:bldP spid="130" grpId="0" animBg="1"/>
      <p:bldP spid="130" grpId="1" animBg="1"/>
      <p:bldP spid="131" grpId="0" animBg="1"/>
      <p:bldP spid="131" grpId="1" animBg="1"/>
      <p:bldP spid="132" grpId="0" animBg="1"/>
      <p:bldP spid="132" grpId="1" animBg="1"/>
      <p:bldP spid="133" grpId="0" animBg="1"/>
      <p:bldP spid="133" grpId="1" animBg="1"/>
      <p:bldP spid="134" grpId="0" animBg="1"/>
      <p:bldP spid="134" grpId="1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A)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D1DA5-55F2-40D3-B419-631F81A7B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68" y="2189852"/>
            <a:ext cx="5552921" cy="1181862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goes here</a:t>
            </a:r>
            <a:endParaRPr lang="en-GB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3ECE1A18-33D8-41AB-85CB-0266D44674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768" y="3599135"/>
            <a:ext cx="5552920" cy="984885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1200"/>
              </a:spcAft>
              <a:defRPr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Subtitle goes here</a:t>
            </a:r>
          </a:p>
          <a:p>
            <a:pPr lvl="1"/>
            <a:r>
              <a:rPr lang="en-US"/>
              <a:t>Presenter Name</a:t>
            </a:r>
            <a:br>
              <a:rPr lang="en-US"/>
            </a:br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2F4CDCB-E2CD-4FFF-BD24-9F21EAD694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tIns="360000"/>
          <a:lstStyle>
            <a:lvl1pPr algn="ctr">
              <a:defRPr sz="1800" b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insert an image and send this to bac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AA874E-6B70-4A65-B741-156C5F3B80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5200" y="1627200"/>
            <a:ext cx="4996800" cy="52308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BA6416-6FBF-1545-83D8-B1420D4DA78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591" y="5798570"/>
            <a:ext cx="795560" cy="841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77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25000" decel="75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3000" fill="hold"/>
                                        <p:tgtEl>
                                          <p:spTgt spid="6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4.07407E-6 L -0.03659 -4.07407E-6 " pathEditMode="relative" rAng="0" ptsTypes="AA">
                                      <p:cBhvr>
                                        <p:cTn id="11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6" y="0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1.48148E-6 L 0.02865 1.48148E-6 " pathEditMode="relative" rAng="0" ptsTypes="AA">
                                      <p:cBhvr>
                                        <p:cTn id="16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2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83" grpId="0">
        <p:tmplLst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animBg="1"/>
      <p:bldP spid="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 animBg="1">
        <p:tmplLst>
          <p:tmpl>
            <p:tnLst>
              <p:par>
                <p:cTn presetID="35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2.08333E-6 1.48148E-6 L 0.02865 1.48148E-6 " pathEditMode="relative" rAng="0" ptsTypes="AA">
                      <p:cBhvr>
                        <p:cTn dur="1000" spd="-1000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432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B1)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704569BC-A902-428E-BB2D-80224904A57F}"/>
              </a:ext>
            </a:extLst>
          </p:cNvPr>
          <p:cNvSpPr>
            <a:spLocks/>
          </p:cNvSpPr>
          <p:nvPr/>
        </p:nvSpPr>
        <p:spPr bwMode="auto">
          <a:xfrm>
            <a:off x="3399650" y="1625597"/>
            <a:ext cx="4997428" cy="5232402"/>
          </a:xfrm>
          <a:custGeom>
            <a:avLst/>
            <a:gdLst>
              <a:gd name="connsiteX0" fmla="*/ 1715698 w 4997428"/>
              <a:gd name="connsiteY0" fmla="*/ 3352613 h 5232402"/>
              <a:gd name="connsiteX1" fmla="*/ 2156976 w 4997428"/>
              <a:gd name="connsiteY1" fmla="*/ 4593909 h 5232402"/>
              <a:gd name="connsiteX2" fmla="*/ 2675550 w 4997428"/>
              <a:gd name="connsiteY2" fmla="*/ 5232402 h 5232402"/>
              <a:gd name="connsiteX3" fmla="*/ 1556212 w 4997428"/>
              <a:gd name="connsiteY3" fmla="*/ 5232402 h 5232402"/>
              <a:gd name="connsiteX4" fmla="*/ 33267 w 4997428"/>
              <a:gd name="connsiteY4" fmla="*/ 4501998 h 5232402"/>
              <a:gd name="connsiteX5" fmla="*/ 32778 w 4997428"/>
              <a:gd name="connsiteY5" fmla="*/ 4501509 h 5232402"/>
              <a:gd name="connsiteX6" fmla="*/ 0 w 4997428"/>
              <a:gd name="connsiteY6" fmla="*/ 4392486 h 5232402"/>
              <a:gd name="connsiteX7" fmla="*/ 77786 w 4997428"/>
              <a:gd name="connsiteY7" fmla="*/ 4231641 h 5232402"/>
              <a:gd name="connsiteX8" fmla="*/ 150191 w 4997428"/>
              <a:gd name="connsiteY8" fmla="*/ 4183240 h 5232402"/>
              <a:gd name="connsiteX9" fmla="*/ 150680 w 4997428"/>
              <a:gd name="connsiteY9" fmla="*/ 4182752 h 5232402"/>
              <a:gd name="connsiteX10" fmla="*/ 151170 w 4997428"/>
              <a:gd name="connsiteY10" fmla="*/ 4182263 h 5232402"/>
              <a:gd name="connsiteX11" fmla="*/ 300382 w 4997428"/>
              <a:gd name="connsiteY11" fmla="*/ 4080573 h 5232402"/>
              <a:gd name="connsiteX12" fmla="*/ 353707 w 4997428"/>
              <a:gd name="connsiteY12" fmla="*/ 4045862 h 5232402"/>
              <a:gd name="connsiteX13" fmla="*/ 1076776 w 4997428"/>
              <a:gd name="connsiteY13" fmla="*/ 3635682 h 5232402"/>
              <a:gd name="connsiteX14" fmla="*/ 1715698 w 4997428"/>
              <a:gd name="connsiteY14" fmla="*/ 3352613 h 5232402"/>
              <a:gd name="connsiteX15" fmla="*/ 863321 w 4997428"/>
              <a:gd name="connsiteY15" fmla="*/ 2153521 h 5232402"/>
              <a:gd name="connsiteX16" fmla="*/ 947042 w 4997428"/>
              <a:gd name="connsiteY16" fmla="*/ 2154010 h 5232402"/>
              <a:gd name="connsiteX17" fmla="*/ 1593308 w 4997428"/>
              <a:gd name="connsiteY17" fmla="*/ 2189739 h 5232402"/>
              <a:gd name="connsiteX18" fmla="*/ 1677518 w 4997428"/>
              <a:gd name="connsiteY18" fmla="*/ 3136317 h 5232402"/>
              <a:gd name="connsiteX19" fmla="*/ 974949 w 4997428"/>
              <a:gd name="connsiteY19" fmla="*/ 3444665 h 5232402"/>
              <a:gd name="connsiteX20" fmla="*/ 428560 w 4997428"/>
              <a:gd name="connsiteY20" fmla="*/ 2363980 h 5232402"/>
              <a:gd name="connsiteX21" fmla="*/ 460384 w 4997428"/>
              <a:gd name="connsiteY21" fmla="*/ 2250430 h 5232402"/>
              <a:gd name="connsiteX22" fmla="*/ 616075 w 4997428"/>
              <a:gd name="connsiteY22" fmla="*/ 2157926 h 5232402"/>
              <a:gd name="connsiteX23" fmla="*/ 863321 w 4997428"/>
              <a:gd name="connsiteY23" fmla="*/ 2153521 h 5232402"/>
              <a:gd name="connsiteX24" fmla="*/ 3345492 w 4997428"/>
              <a:gd name="connsiteY24" fmla="*/ 1662983 h 5232402"/>
              <a:gd name="connsiteX25" fmla="*/ 3391977 w 4997428"/>
              <a:gd name="connsiteY25" fmla="*/ 1682541 h 5232402"/>
              <a:gd name="connsiteX26" fmla="*/ 3439930 w 4997428"/>
              <a:gd name="connsiteY26" fmla="*/ 1722147 h 5232402"/>
              <a:gd name="connsiteX27" fmla="*/ 3577428 w 4997428"/>
              <a:gd name="connsiteY27" fmla="*/ 1839987 h 5232402"/>
              <a:gd name="connsiteX28" fmla="*/ 4022218 w 4997428"/>
              <a:gd name="connsiteY28" fmla="*/ 2282497 h 5232402"/>
              <a:gd name="connsiteX29" fmla="*/ 4935285 w 4997428"/>
              <a:gd name="connsiteY29" fmla="*/ 3795833 h 5232402"/>
              <a:gd name="connsiteX30" fmla="*/ 4997428 w 4997428"/>
              <a:gd name="connsiteY30" fmla="*/ 4005598 h 5232402"/>
              <a:gd name="connsiteX31" fmla="*/ 4997428 w 4997428"/>
              <a:gd name="connsiteY31" fmla="*/ 5232402 h 5232402"/>
              <a:gd name="connsiteX32" fmla="*/ 3778538 w 4997428"/>
              <a:gd name="connsiteY32" fmla="*/ 5232402 h 5232402"/>
              <a:gd name="connsiteX33" fmla="*/ 3309772 w 4997428"/>
              <a:gd name="connsiteY33" fmla="*/ 4529764 h 5232402"/>
              <a:gd name="connsiteX34" fmla="*/ 3134596 w 4997428"/>
              <a:gd name="connsiteY34" fmla="*/ 3215925 h 5232402"/>
              <a:gd name="connsiteX35" fmla="*/ 3263287 w 4997428"/>
              <a:gd name="connsiteY35" fmla="*/ 1857590 h 5232402"/>
              <a:gd name="connsiteX36" fmla="*/ 3286774 w 4997428"/>
              <a:gd name="connsiteY36" fmla="*/ 1742195 h 5232402"/>
              <a:gd name="connsiteX37" fmla="*/ 3345492 w 4997428"/>
              <a:gd name="connsiteY37" fmla="*/ 1662983 h 5232402"/>
              <a:gd name="connsiteX38" fmla="*/ 1985716 w 4997428"/>
              <a:gd name="connsiteY38" fmla="*/ 829675 h 5232402"/>
              <a:gd name="connsiteX39" fmla="*/ 2042469 w 4997428"/>
              <a:gd name="connsiteY39" fmla="*/ 842388 h 5232402"/>
              <a:gd name="connsiteX40" fmla="*/ 2043448 w 4997428"/>
              <a:gd name="connsiteY40" fmla="*/ 842877 h 5232402"/>
              <a:gd name="connsiteX41" fmla="*/ 2043937 w 4997428"/>
              <a:gd name="connsiteY41" fmla="*/ 842877 h 5232402"/>
              <a:gd name="connsiteX42" fmla="*/ 2127599 w 4997428"/>
              <a:gd name="connsiteY42" fmla="*/ 878572 h 5232402"/>
              <a:gd name="connsiteX43" fmla="*/ 2337487 w 4997428"/>
              <a:gd name="connsiteY43" fmla="*/ 973433 h 5232402"/>
              <a:gd name="connsiteX44" fmla="*/ 2367820 w 4997428"/>
              <a:gd name="connsiteY44" fmla="*/ 987614 h 5232402"/>
              <a:gd name="connsiteX45" fmla="*/ 3151109 w 4997428"/>
              <a:gd name="connsiteY45" fmla="*/ 1421823 h 5232402"/>
              <a:gd name="connsiteX46" fmla="*/ 3235749 w 4997428"/>
              <a:gd name="connsiteY46" fmla="*/ 1474632 h 5232402"/>
              <a:gd name="connsiteX47" fmla="*/ 3077722 w 4997428"/>
              <a:gd name="connsiteY47" fmla="*/ 1695160 h 5232402"/>
              <a:gd name="connsiteX48" fmla="*/ 3075765 w 4997428"/>
              <a:gd name="connsiteY48" fmla="*/ 1705428 h 5232402"/>
              <a:gd name="connsiteX49" fmla="*/ 2920183 w 4997428"/>
              <a:gd name="connsiteY49" fmla="*/ 3215871 h 5232402"/>
              <a:gd name="connsiteX50" fmla="*/ 3104141 w 4997428"/>
              <a:gd name="connsiteY50" fmla="*/ 4592334 h 5232402"/>
              <a:gd name="connsiteX51" fmla="*/ 3470100 w 4997428"/>
              <a:gd name="connsiteY51" fmla="*/ 5232402 h 5232402"/>
              <a:gd name="connsiteX52" fmla="*/ 3038092 w 4997428"/>
              <a:gd name="connsiteY52" fmla="*/ 5232402 h 5232402"/>
              <a:gd name="connsiteX53" fmla="*/ 2341890 w 4997428"/>
              <a:gd name="connsiteY53" fmla="*/ 4487205 h 5232402"/>
              <a:gd name="connsiteX54" fmla="*/ 1804694 w 4997428"/>
              <a:gd name="connsiteY54" fmla="*/ 1983166 h 5232402"/>
              <a:gd name="connsiteX55" fmla="*/ 1838941 w 4997428"/>
              <a:gd name="connsiteY55" fmla="*/ 1229656 h 5232402"/>
              <a:gd name="connsiteX56" fmla="*/ 1870743 w 4997428"/>
              <a:gd name="connsiteY56" fmla="*/ 939205 h 5232402"/>
              <a:gd name="connsiteX57" fmla="*/ 1985716 w 4997428"/>
              <a:gd name="connsiteY57" fmla="*/ 829675 h 5232402"/>
              <a:gd name="connsiteX58" fmla="*/ 3454840 w 4997428"/>
              <a:gd name="connsiteY58" fmla="*/ 225284 h 5232402"/>
              <a:gd name="connsiteX59" fmla="*/ 3475877 w 4997428"/>
              <a:gd name="connsiteY59" fmla="*/ 226752 h 5232402"/>
              <a:gd name="connsiteX60" fmla="*/ 3476366 w 4997428"/>
              <a:gd name="connsiteY60" fmla="*/ 227241 h 5232402"/>
              <a:gd name="connsiteX61" fmla="*/ 3477345 w 4997428"/>
              <a:gd name="connsiteY61" fmla="*/ 227241 h 5232402"/>
              <a:gd name="connsiteX62" fmla="*/ 3527736 w 4997428"/>
              <a:gd name="connsiteY62" fmla="*/ 247791 h 5232402"/>
              <a:gd name="connsiteX63" fmla="*/ 3528226 w 4997428"/>
              <a:gd name="connsiteY63" fmla="*/ 248280 h 5232402"/>
              <a:gd name="connsiteX64" fmla="*/ 3529204 w 4997428"/>
              <a:gd name="connsiteY64" fmla="*/ 248769 h 5232402"/>
              <a:gd name="connsiteX65" fmla="*/ 3826172 w 4997428"/>
              <a:gd name="connsiteY65" fmla="*/ 449371 h 5232402"/>
              <a:gd name="connsiteX66" fmla="*/ 4276762 w 4997428"/>
              <a:gd name="connsiteY66" fmla="*/ 798712 h 5232402"/>
              <a:gd name="connsiteX67" fmla="*/ 3902494 w 4997428"/>
              <a:gd name="connsiteY67" fmla="*/ 1684785 h 5232402"/>
              <a:gd name="connsiteX68" fmla="*/ 3130963 w 4997428"/>
              <a:gd name="connsiteY68" fmla="*/ 1155881 h 5232402"/>
              <a:gd name="connsiteX69" fmla="*/ 3342314 w 4997428"/>
              <a:gd name="connsiteY69" fmla="*/ 323139 h 5232402"/>
              <a:gd name="connsiteX70" fmla="*/ 3345250 w 4997428"/>
              <a:gd name="connsiteY70" fmla="*/ 314332 h 5232402"/>
              <a:gd name="connsiteX71" fmla="*/ 3454840 w 4997428"/>
              <a:gd name="connsiteY71" fmla="*/ 225284 h 5232402"/>
              <a:gd name="connsiteX72" fmla="*/ 4997428 w 4997428"/>
              <a:gd name="connsiteY72" fmla="*/ 0 h 5232402"/>
              <a:gd name="connsiteX73" fmla="*/ 4996450 w 4997428"/>
              <a:gd name="connsiteY73" fmla="*/ 3311432 h 5232402"/>
              <a:gd name="connsiteX74" fmla="*/ 4030887 w 4997428"/>
              <a:gd name="connsiteY74" fmla="*/ 1977273 h 5232402"/>
              <a:gd name="connsiteX75" fmla="*/ 4879116 w 4997428"/>
              <a:gd name="connsiteY75" fmla="*/ 134003 h 5232402"/>
              <a:gd name="connsiteX76" fmla="*/ 4930450 w 4997428"/>
              <a:gd name="connsiteY76" fmla="*/ 52819 h 5232402"/>
              <a:gd name="connsiteX77" fmla="*/ 4997428 w 4997428"/>
              <a:gd name="connsiteY77" fmla="*/ 0 h 523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997428" h="5232402">
                <a:moveTo>
                  <a:pt x="1715698" y="3352613"/>
                </a:moveTo>
                <a:cubicBezTo>
                  <a:pt x="1810607" y="3830261"/>
                  <a:pt x="1959330" y="4247774"/>
                  <a:pt x="2156976" y="4593909"/>
                </a:cubicBezTo>
                <a:cubicBezTo>
                  <a:pt x="2304231" y="4852533"/>
                  <a:pt x="2477905" y="5065201"/>
                  <a:pt x="2675550" y="5232402"/>
                </a:cubicBezTo>
                <a:cubicBezTo>
                  <a:pt x="2675550" y="5232402"/>
                  <a:pt x="2675550" y="5232402"/>
                  <a:pt x="1556212" y="5232402"/>
                </a:cubicBezTo>
                <a:cubicBezTo>
                  <a:pt x="445191" y="4978667"/>
                  <a:pt x="81700" y="4563598"/>
                  <a:pt x="33267" y="4501998"/>
                </a:cubicBezTo>
                <a:cubicBezTo>
                  <a:pt x="33267" y="4501998"/>
                  <a:pt x="33267" y="4501998"/>
                  <a:pt x="32778" y="4501509"/>
                </a:cubicBezTo>
                <a:cubicBezTo>
                  <a:pt x="10763" y="4468264"/>
                  <a:pt x="0" y="4431597"/>
                  <a:pt x="0" y="4392486"/>
                </a:cubicBezTo>
                <a:cubicBezTo>
                  <a:pt x="0" y="4328930"/>
                  <a:pt x="29843" y="4267330"/>
                  <a:pt x="77786" y="4231641"/>
                </a:cubicBezTo>
                <a:cubicBezTo>
                  <a:pt x="77786" y="4231641"/>
                  <a:pt x="103715" y="4214529"/>
                  <a:pt x="150191" y="4183240"/>
                </a:cubicBezTo>
                <a:cubicBezTo>
                  <a:pt x="150191" y="4183240"/>
                  <a:pt x="150191" y="4183240"/>
                  <a:pt x="150680" y="4182752"/>
                </a:cubicBezTo>
                <a:cubicBezTo>
                  <a:pt x="150680" y="4182752"/>
                  <a:pt x="150680" y="4182752"/>
                  <a:pt x="151170" y="4182263"/>
                </a:cubicBezTo>
                <a:cubicBezTo>
                  <a:pt x="186393" y="4155862"/>
                  <a:pt x="236783" y="4122618"/>
                  <a:pt x="300382" y="4080573"/>
                </a:cubicBezTo>
                <a:cubicBezTo>
                  <a:pt x="317505" y="4069818"/>
                  <a:pt x="335117" y="4058084"/>
                  <a:pt x="353707" y="4045862"/>
                </a:cubicBezTo>
                <a:cubicBezTo>
                  <a:pt x="511725" y="3944661"/>
                  <a:pt x="765631" y="3791149"/>
                  <a:pt x="1076776" y="3635682"/>
                </a:cubicBezTo>
                <a:cubicBezTo>
                  <a:pt x="1292033" y="3527148"/>
                  <a:pt x="1506801" y="3431814"/>
                  <a:pt x="1715698" y="3352613"/>
                </a:cubicBezTo>
                <a:close/>
                <a:moveTo>
                  <a:pt x="863321" y="2153521"/>
                </a:moveTo>
                <a:cubicBezTo>
                  <a:pt x="889759" y="2153521"/>
                  <a:pt x="917666" y="2153521"/>
                  <a:pt x="947042" y="2154010"/>
                </a:cubicBezTo>
                <a:cubicBezTo>
                  <a:pt x="1086087" y="2155479"/>
                  <a:pt x="1309832" y="2163310"/>
                  <a:pt x="1593308" y="2189739"/>
                </a:cubicBezTo>
                <a:cubicBezTo>
                  <a:pt x="1601141" y="2514728"/>
                  <a:pt x="1629538" y="2832864"/>
                  <a:pt x="1677518" y="3136317"/>
                </a:cubicBezTo>
                <a:cubicBezTo>
                  <a:pt x="1448877" y="3222948"/>
                  <a:pt x="1212892" y="3326710"/>
                  <a:pt x="974949" y="3444665"/>
                </a:cubicBezTo>
                <a:cubicBezTo>
                  <a:pt x="510323" y="2858805"/>
                  <a:pt x="439332" y="2469699"/>
                  <a:pt x="428560" y="2363980"/>
                </a:cubicBezTo>
                <a:cubicBezTo>
                  <a:pt x="425133" y="2327762"/>
                  <a:pt x="445207" y="2272455"/>
                  <a:pt x="460384" y="2250430"/>
                </a:cubicBezTo>
                <a:cubicBezTo>
                  <a:pt x="498083" y="2195123"/>
                  <a:pt x="554386" y="2161841"/>
                  <a:pt x="616075" y="2157926"/>
                </a:cubicBezTo>
                <a:cubicBezTo>
                  <a:pt x="616565" y="2157926"/>
                  <a:pt x="708609" y="2153521"/>
                  <a:pt x="863321" y="2153521"/>
                </a:cubicBezTo>
                <a:close/>
                <a:moveTo>
                  <a:pt x="3345492" y="1662983"/>
                </a:moveTo>
                <a:cubicBezTo>
                  <a:pt x="3359682" y="1662983"/>
                  <a:pt x="3374851" y="1669339"/>
                  <a:pt x="3391977" y="1682541"/>
                </a:cubicBezTo>
                <a:cubicBezTo>
                  <a:pt x="3392466" y="1683030"/>
                  <a:pt x="3409103" y="1695254"/>
                  <a:pt x="3439930" y="1722147"/>
                </a:cubicBezTo>
                <a:cubicBezTo>
                  <a:pt x="3471246" y="1747084"/>
                  <a:pt x="3515774" y="1785712"/>
                  <a:pt x="3577428" y="1839987"/>
                </a:cubicBezTo>
                <a:cubicBezTo>
                  <a:pt x="3659634" y="1913331"/>
                  <a:pt x="3826980" y="2067843"/>
                  <a:pt x="4022218" y="2282497"/>
                </a:cubicBezTo>
                <a:cubicBezTo>
                  <a:pt x="4330978" y="2626237"/>
                  <a:pt x="4740536" y="3168006"/>
                  <a:pt x="4935285" y="3795833"/>
                </a:cubicBezTo>
                <a:cubicBezTo>
                  <a:pt x="4960240" y="3876512"/>
                  <a:pt x="4978345" y="3929320"/>
                  <a:pt x="4997428" y="4005598"/>
                </a:cubicBezTo>
                <a:cubicBezTo>
                  <a:pt x="4997428" y="4005598"/>
                  <a:pt x="4997428" y="4005598"/>
                  <a:pt x="4997428" y="5232402"/>
                </a:cubicBezTo>
                <a:cubicBezTo>
                  <a:pt x="4997428" y="5232402"/>
                  <a:pt x="4997428" y="5232402"/>
                  <a:pt x="3778538" y="5232402"/>
                </a:cubicBezTo>
                <a:cubicBezTo>
                  <a:pt x="3580364" y="5068600"/>
                  <a:pt x="3405189" y="4836343"/>
                  <a:pt x="3309772" y="4529764"/>
                </a:cubicBezTo>
                <a:cubicBezTo>
                  <a:pt x="3193803" y="4155220"/>
                  <a:pt x="3134596" y="3713199"/>
                  <a:pt x="3134596" y="3215925"/>
                </a:cubicBezTo>
                <a:cubicBezTo>
                  <a:pt x="3134596" y="2598366"/>
                  <a:pt x="3224630" y="2060509"/>
                  <a:pt x="3263287" y="1857590"/>
                </a:cubicBezTo>
                <a:cubicBezTo>
                  <a:pt x="3277966" y="1783267"/>
                  <a:pt x="3286774" y="1742195"/>
                  <a:pt x="3286774" y="1742195"/>
                </a:cubicBezTo>
                <a:cubicBezTo>
                  <a:pt x="3296071" y="1706989"/>
                  <a:pt x="3313686" y="1662983"/>
                  <a:pt x="3345492" y="1662983"/>
                </a:cubicBezTo>
                <a:close/>
                <a:moveTo>
                  <a:pt x="1985716" y="829675"/>
                </a:moveTo>
                <a:cubicBezTo>
                  <a:pt x="1997948" y="829675"/>
                  <a:pt x="2017518" y="832120"/>
                  <a:pt x="2042469" y="842388"/>
                </a:cubicBezTo>
                <a:cubicBezTo>
                  <a:pt x="2042469" y="842388"/>
                  <a:pt x="2042469" y="842388"/>
                  <a:pt x="2043448" y="842877"/>
                </a:cubicBezTo>
                <a:cubicBezTo>
                  <a:pt x="2043448" y="842877"/>
                  <a:pt x="2043448" y="842877"/>
                  <a:pt x="2043937" y="842877"/>
                </a:cubicBezTo>
                <a:cubicBezTo>
                  <a:pt x="2044426" y="842877"/>
                  <a:pt x="2073781" y="853635"/>
                  <a:pt x="2127599" y="878572"/>
                </a:cubicBezTo>
                <a:cubicBezTo>
                  <a:pt x="2179949" y="899598"/>
                  <a:pt x="2249422" y="932360"/>
                  <a:pt x="2337487" y="973433"/>
                </a:cubicBezTo>
                <a:cubicBezTo>
                  <a:pt x="2337487" y="973433"/>
                  <a:pt x="2337487" y="973433"/>
                  <a:pt x="2367820" y="987614"/>
                </a:cubicBezTo>
                <a:cubicBezTo>
                  <a:pt x="2638376" y="1118659"/>
                  <a:pt x="2902081" y="1264862"/>
                  <a:pt x="3151109" y="1421823"/>
                </a:cubicBezTo>
                <a:cubicBezTo>
                  <a:pt x="3179486" y="1437959"/>
                  <a:pt x="3207862" y="1456051"/>
                  <a:pt x="3235749" y="1474632"/>
                </a:cubicBezTo>
                <a:cubicBezTo>
                  <a:pt x="3158937" y="1513261"/>
                  <a:pt x="3099738" y="1594431"/>
                  <a:pt x="3077722" y="1695160"/>
                </a:cubicBezTo>
                <a:cubicBezTo>
                  <a:pt x="3077232" y="1698094"/>
                  <a:pt x="3076743" y="1701028"/>
                  <a:pt x="3075765" y="1705428"/>
                </a:cubicBezTo>
                <a:cubicBezTo>
                  <a:pt x="3039560" y="1877547"/>
                  <a:pt x="2920183" y="2495122"/>
                  <a:pt x="2920183" y="3215871"/>
                </a:cubicBezTo>
                <a:cubicBezTo>
                  <a:pt x="2920183" y="3734673"/>
                  <a:pt x="2982318" y="4197732"/>
                  <a:pt x="3104141" y="4592334"/>
                </a:cubicBezTo>
                <a:cubicBezTo>
                  <a:pt x="3191228" y="4868116"/>
                  <a:pt x="3328218" y="5076419"/>
                  <a:pt x="3470100" y="5232402"/>
                </a:cubicBezTo>
                <a:cubicBezTo>
                  <a:pt x="3470100" y="5232402"/>
                  <a:pt x="3470100" y="5232402"/>
                  <a:pt x="3038092" y="5232402"/>
                </a:cubicBezTo>
                <a:cubicBezTo>
                  <a:pt x="2771451" y="5072997"/>
                  <a:pt x="2534165" y="4821663"/>
                  <a:pt x="2341890" y="4487205"/>
                </a:cubicBezTo>
                <a:cubicBezTo>
                  <a:pt x="1897651" y="3710224"/>
                  <a:pt x="1804694" y="2696580"/>
                  <a:pt x="1804694" y="1983166"/>
                </a:cubicBezTo>
                <a:cubicBezTo>
                  <a:pt x="1804694" y="1730366"/>
                  <a:pt x="1815947" y="1477077"/>
                  <a:pt x="1838941" y="1229656"/>
                </a:cubicBezTo>
                <a:cubicBezTo>
                  <a:pt x="1855576" y="1048246"/>
                  <a:pt x="1870743" y="940183"/>
                  <a:pt x="1870743" y="939205"/>
                </a:cubicBezTo>
                <a:cubicBezTo>
                  <a:pt x="1884442" y="867815"/>
                  <a:pt x="1922114" y="831631"/>
                  <a:pt x="1985716" y="829675"/>
                </a:cubicBezTo>
                <a:close/>
                <a:moveTo>
                  <a:pt x="3454840" y="225284"/>
                </a:moveTo>
                <a:cubicBezTo>
                  <a:pt x="3461689" y="225284"/>
                  <a:pt x="3468538" y="225773"/>
                  <a:pt x="3475877" y="226752"/>
                </a:cubicBezTo>
                <a:cubicBezTo>
                  <a:pt x="3475877" y="226752"/>
                  <a:pt x="3475877" y="226752"/>
                  <a:pt x="3476366" y="227241"/>
                </a:cubicBezTo>
                <a:cubicBezTo>
                  <a:pt x="3476366" y="227241"/>
                  <a:pt x="3476366" y="227241"/>
                  <a:pt x="3477345" y="227241"/>
                </a:cubicBezTo>
                <a:cubicBezTo>
                  <a:pt x="3493490" y="228709"/>
                  <a:pt x="3510613" y="235559"/>
                  <a:pt x="3527736" y="247791"/>
                </a:cubicBezTo>
                <a:cubicBezTo>
                  <a:pt x="3527736" y="247791"/>
                  <a:pt x="3527736" y="247791"/>
                  <a:pt x="3528226" y="248280"/>
                </a:cubicBezTo>
                <a:cubicBezTo>
                  <a:pt x="3528226" y="248280"/>
                  <a:pt x="3528226" y="248280"/>
                  <a:pt x="3529204" y="248769"/>
                </a:cubicBezTo>
                <a:cubicBezTo>
                  <a:pt x="3530182" y="249259"/>
                  <a:pt x="3646621" y="320692"/>
                  <a:pt x="3826172" y="449371"/>
                </a:cubicBezTo>
                <a:cubicBezTo>
                  <a:pt x="3925488" y="520805"/>
                  <a:pt x="4083512" y="638719"/>
                  <a:pt x="4276762" y="798712"/>
                </a:cubicBezTo>
                <a:cubicBezTo>
                  <a:pt x="4136350" y="1090318"/>
                  <a:pt x="4010616" y="1388285"/>
                  <a:pt x="3902494" y="1684785"/>
                </a:cubicBezTo>
                <a:cubicBezTo>
                  <a:pt x="3671573" y="1502775"/>
                  <a:pt x="3418636" y="1329573"/>
                  <a:pt x="3130963" y="1155881"/>
                </a:cubicBezTo>
                <a:cubicBezTo>
                  <a:pt x="3212666" y="743913"/>
                  <a:pt x="3305622" y="437139"/>
                  <a:pt x="3342314" y="323139"/>
                </a:cubicBezTo>
                <a:cubicBezTo>
                  <a:pt x="3343782" y="319224"/>
                  <a:pt x="3344271" y="316778"/>
                  <a:pt x="3345250" y="314332"/>
                </a:cubicBezTo>
                <a:cubicBezTo>
                  <a:pt x="3367755" y="255130"/>
                  <a:pt x="3404448" y="225284"/>
                  <a:pt x="3454840" y="225284"/>
                </a:cubicBezTo>
                <a:close/>
                <a:moveTo>
                  <a:pt x="4997428" y="0"/>
                </a:moveTo>
                <a:cubicBezTo>
                  <a:pt x="4997428" y="0"/>
                  <a:pt x="4997428" y="0"/>
                  <a:pt x="4996450" y="3311432"/>
                </a:cubicBezTo>
                <a:cubicBezTo>
                  <a:pt x="4786715" y="2861007"/>
                  <a:pt x="4449868" y="2413516"/>
                  <a:pt x="4030887" y="1977273"/>
                </a:cubicBezTo>
                <a:cubicBezTo>
                  <a:pt x="4316889" y="1108212"/>
                  <a:pt x="4718759" y="399563"/>
                  <a:pt x="4879116" y="134003"/>
                </a:cubicBezTo>
                <a:cubicBezTo>
                  <a:pt x="4912850" y="80695"/>
                  <a:pt x="4930450" y="52819"/>
                  <a:pt x="4930450" y="52819"/>
                </a:cubicBezTo>
                <a:cubicBezTo>
                  <a:pt x="4962717" y="3912"/>
                  <a:pt x="4989606" y="0"/>
                  <a:pt x="4997428" y="0"/>
                </a:cubicBezTo>
                <a:close/>
              </a:path>
            </a:pathLst>
          </a:custGeom>
          <a:solidFill>
            <a:srgbClr val="B29C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9DA3977-9CB7-4D80-B87F-8D89276989D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4D1DA5-55F2-40D3-B419-631F81A7B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68" y="2189852"/>
            <a:ext cx="5552921" cy="1181862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goes here</a:t>
            </a:r>
            <a:endParaRPr lang="en-GB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FB92D7A7-9D03-4CDA-8900-92AFCEA1272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94572" y="1625597"/>
            <a:ext cx="4997428" cy="5232401"/>
          </a:xfrm>
          <a:custGeom>
            <a:avLst/>
            <a:gdLst>
              <a:gd name="connsiteX0" fmla="*/ 1715698 w 4997428"/>
              <a:gd name="connsiteY0" fmla="*/ 3352613 h 5232401"/>
              <a:gd name="connsiteX1" fmla="*/ 2156976 w 4997428"/>
              <a:gd name="connsiteY1" fmla="*/ 4593909 h 5232401"/>
              <a:gd name="connsiteX2" fmla="*/ 2531849 w 4997428"/>
              <a:gd name="connsiteY2" fmla="*/ 5098469 h 5232401"/>
              <a:gd name="connsiteX3" fmla="*/ 2675549 w 4997428"/>
              <a:gd name="connsiteY3" fmla="*/ 5232401 h 5232401"/>
              <a:gd name="connsiteX4" fmla="*/ 1556208 w 4997428"/>
              <a:gd name="connsiteY4" fmla="*/ 5232401 h 5232401"/>
              <a:gd name="connsiteX5" fmla="*/ 1356550 w 4997428"/>
              <a:gd name="connsiteY5" fmla="*/ 5183062 h 5232401"/>
              <a:gd name="connsiteX6" fmla="*/ 33267 w 4997428"/>
              <a:gd name="connsiteY6" fmla="*/ 4501998 h 5232401"/>
              <a:gd name="connsiteX7" fmla="*/ 32778 w 4997428"/>
              <a:gd name="connsiteY7" fmla="*/ 4501509 h 5232401"/>
              <a:gd name="connsiteX8" fmla="*/ 0 w 4997428"/>
              <a:gd name="connsiteY8" fmla="*/ 4392486 h 5232401"/>
              <a:gd name="connsiteX9" fmla="*/ 77786 w 4997428"/>
              <a:gd name="connsiteY9" fmla="*/ 4231641 h 5232401"/>
              <a:gd name="connsiteX10" fmla="*/ 150191 w 4997428"/>
              <a:gd name="connsiteY10" fmla="*/ 4183240 h 5232401"/>
              <a:gd name="connsiteX11" fmla="*/ 150680 w 4997428"/>
              <a:gd name="connsiteY11" fmla="*/ 4182752 h 5232401"/>
              <a:gd name="connsiteX12" fmla="*/ 151170 w 4997428"/>
              <a:gd name="connsiteY12" fmla="*/ 4182263 h 5232401"/>
              <a:gd name="connsiteX13" fmla="*/ 300382 w 4997428"/>
              <a:gd name="connsiteY13" fmla="*/ 4080573 h 5232401"/>
              <a:gd name="connsiteX14" fmla="*/ 353707 w 4997428"/>
              <a:gd name="connsiteY14" fmla="*/ 4045862 h 5232401"/>
              <a:gd name="connsiteX15" fmla="*/ 1076776 w 4997428"/>
              <a:gd name="connsiteY15" fmla="*/ 3635682 h 5232401"/>
              <a:gd name="connsiteX16" fmla="*/ 1715698 w 4997428"/>
              <a:gd name="connsiteY16" fmla="*/ 3352613 h 5232401"/>
              <a:gd name="connsiteX17" fmla="*/ 863321 w 4997428"/>
              <a:gd name="connsiteY17" fmla="*/ 2153521 h 5232401"/>
              <a:gd name="connsiteX18" fmla="*/ 947042 w 4997428"/>
              <a:gd name="connsiteY18" fmla="*/ 2154010 h 5232401"/>
              <a:gd name="connsiteX19" fmla="*/ 1593308 w 4997428"/>
              <a:gd name="connsiteY19" fmla="*/ 2189739 h 5232401"/>
              <a:gd name="connsiteX20" fmla="*/ 1677518 w 4997428"/>
              <a:gd name="connsiteY20" fmla="*/ 3136317 h 5232401"/>
              <a:gd name="connsiteX21" fmla="*/ 974949 w 4997428"/>
              <a:gd name="connsiteY21" fmla="*/ 3444665 h 5232401"/>
              <a:gd name="connsiteX22" fmla="*/ 428560 w 4997428"/>
              <a:gd name="connsiteY22" fmla="*/ 2363980 h 5232401"/>
              <a:gd name="connsiteX23" fmla="*/ 460384 w 4997428"/>
              <a:gd name="connsiteY23" fmla="*/ 2250430 h 5232401"/>
              <a:gd name="connsiteX24" fmla="*/ 616075 w 4997428"/>
              <a:gd name="connsiteY24" fmla="*/ 2157926 h 5232401"/>
              <a:gd name="connsiteX25" fmla="*/ 863321 w 4997428"/>
              <a:gd name="connsiteY25" fmla="*/ 2153521 h 5232401"/>
              <a:gd name="connsiteX26" fmla="*/ 3345492 w 4997428"/>
              <a:gd name="connsiteY26" fmla="*/ 1662983 h 5232401"/>
              <a:gd name="connsiteX27" fmla="*/ 3391977 w 4997428"/>
              <a:gd name="connsiteY27" fmla="*/ 1682541 h 5232401"/>
              <a:gd name="connsiteX28" fmla="*/ 3439930 w 4997428"/>
              <a:gd name="connsiteY28" fmla="*/ 1722147 h 5232401"/>
              <a:gd name="connsiteX29" fmla="*/ 3577428 w 4997428"/>
              <a:gd name="connsiteY29" fmla="*/ 1839987 h 5232401"/>
              <a:gd name="connsiteX30" fmla="*/ 4022218 w 4997428"/>
              <a:gd name="connsiteY30" fmla="*/ 2282497 h 5232401"/>
              <a:gd name="connsiteX31" fmla="*/ 4935285 w 4997428"/>
              <a:gd name="connsiteY31" fmla="*/ 3795833 h 5232401"/>
              <a:gd name="connsiteX32" fmla="*/ 4997428 w 4997428"/>
              <a:gd name="connsiteY32" fmla="*/ 4005598 h 5232401"/>
              <a:gd name="connsiteX33" fmla="*/ 4997428 w 4997428"/>
              <a:gd name="connsiteY33" fmla="*/ 4007994 h 5232401"/>
              <a:gd name="connsiteX34" fmla="*/ 4997428 w 4997428"/>
              <a:gd name="connsiteY34" fmla="*/ 4024767 h 5232401"/>
              <a:gd name="connsiteX35" fmla="*/ 4997428 w 4997428"/>
              <a:gd name="connsiteY35" fmla="*/ 4043037 h 5232401"/>
              <a:gd name="connsiteX36" fmla="*/ 4997428 w 4997428"/>
              <a:gd name="connsiteY36" fmla="*/ 4070293 h 5232401"/>
              <a:gd name="connsiteX37" fmla="*/ 4997428 w 4997428"/>
              <a:gd name="connsiteY37" fmla="*/ 4108331 h 5232401"/>
              <a:gd name="connsiteX38" fmla="*/ 4997428 w 4997428"/>
              <a:gd name="connsiteY38" fmla="*/ 4158949 h 5232401"/>
              <a:gd name="connsiteX39" fmla="*/ 4997428 w 4997428"/>
              <a:gd name="connsiteY39" fmla="*/ 4223943 h 5232401"/>
              <a:gd name="connsiteX40" fmla="*/ 4997428 w 4997428"/>
              <a:gd name="connsiteY40" fmla="*/ 4305111 h 5232401"/>
              <a:gd name="connsiteX41" fmla="*/ 4997428 w 4997428"/>
              <a:gd name="connsiteY41" fmla="*/ 4404250 h 5232401"/>
              <a:gd name="connsiteX42" fmla="*/ 4997428 w 4997428"/>
              <a:gd name="connsiteY42" fmla="*/ 4523156 h 5232401"/>
              <a:gd name="connsiteX43" fmla="*/ 4997428 w 4997428"/>
              <a:gd name="connsiteY43" fmla="*/ 4663628 h 5232401"/>
              <a:gd name="connsiteX44" fmla="*/ 4997428 w 4997428"/>
              <a:gd name="connsiteY44" fmla="*/ 4827461 h 5232401"/>
              <a:gd name="connsiteX45" fmla="*/ 4997428 w 4997428"/>
              <a:gd name="connsiteY45" fmla="*/ 5016454 h 5232401"/>
              <a:gd name="connsiteX46" fmla="*/ 4997428 w 4997428"/>
              <a:gd name="connsiteY46" fmla="*/ 5232401 h 5232401"/>
              <a:gd name="connsiteX47" fmla="*/ 3778537 w 4997428"/>
              <a:gd name="connsiteY47" fmla="*/ 5232401 h 5232401"/>
              <a:gd name="connsiteX48" fmla="*/ 3635107 w 4997428"/>
              <a:gd name="connsiteY48" fmla="*/ 5096624 h 5232401"/>
              <a:gd name="connsiteX49" fmla="*/ 3309772 w 4997428"/>
              <a:gd name="connsiteY49" fmla="*/ 4529764 h 5232401"/>
              <a:gd name="connsiteX50" fmla="*/ 3134596 w 4997428"/>
              <a:gd name="connsiteY50" fmla="*/ 3215925 h 5232401"/>
              <a:gd name="connsiteX51" fmla="*/ 3263287 w 4997428"/>
              <a:gd name="connsiteY51" fmla="*/ 1857590 h 5232401"/>
              <a:gd name="connsiteX52" fmla="*/ 3286774 w 4997428"/>
              <a:gd name="connsiteY52" fmla="*/ 1742195 h 5232401"/>
              <a:gd name="connsiteX53" fmla="*/ 3345492 w 4997428"/>
              <a:gd name="connsiteY53" fmla="*/ 1662983 h 5232401"/>
              <a:gd name="connsiteX54" fmla="*/ 1985716 w 4997428"/>
              <a:gd name="connsiteY54" fmla="*/ 829675 h 5232401"/>
              <a:gd name="connsiteX55" fmla="*/ 2042469 w 4997428"/>
              <a:gd name="connsiteY55" fmla="*/ 842388 h 5232401"/>
              <a:gd name="connsiteX56" fmla="*/ 2043448 w 4997428"/>
              <a:gd name="connsiteY56" fmla="*/ 842877 h 5232401"/>
              <a:gd name="connsiteX57" fmla="*/ 2043937 w 4997428"/>
              <a:gd name="connsiteY57" fmla="*/ 842877 h 5232401"/>
              <a:gd name="connsiteX58" fmla="*/ 2127599 w 4997428"/>
              <a:gd name="connsiteY58" fmla="*/ 878572 h 5232401"/>
              <a:gd name="connsiteX59" fmla="*/ 2337487 w 4997428"/>
              <a:gd name="connsiteY59" fmla="*/ 973433 h 5232401"/>
              <a:gd name="connsiteX60" fmla="*/ 2367820 w 4997428"/>
              <a:gd name="connsiteY60" fmla="*/ 987614 h 5232401"/>
              <a:gd name="connsiteX61" fmla="*/ 3151109 w 4997428"/>
              <a:gd name="connsiteY61" fmla="*/ 1421823 h 5232401"/>
              <a:gd name="connsiteX62" fmla="*/ 3235749 w 4997428"/>
              <a:gd name="connsiteY62" fmla="*/ 1474632 h 5232401"/>
              <a:gd name="connsiteX63" fmla="*/ 3077722 w 4997428"/>
              <a:gd name="connsiteY63" fmla="*/ 1695160 h 5232401"/>
              <a:gd name="connsiteX64" fmla="*/ 3075765 w 4997428"/>
              <a:gd name="connsiteY64" fmla="*/ 1705428 h 5232401"/>
              <a:gd name="connsiteX65" fmla="*/ 2920183 w 4997428"/>
              <a:gd name="connsiteY65" fmla="*/ 3215871 h 5232401"/>
              <a:gd name="connsiteX66" fmla="*/ 3104141 w 4997428"/>
              <a:gd name="connsiteY66" fmla="*/ 4592334 h 5232401"/>
              <a:gd name="connsiteX67" fmla="*/ 3365309 w 4997428"/>
              <a:gd name="connsiteY67" fmla="*/ 5105368 h 5232401"/>
              <a:gd name="connsiteX68" fmla="*/ 3470099 w 4997428"/>
              <a:gd name="connsiteY68" fmla="*/ 5232401 h 5232401"/>
              <a:gd name="connsiteX69" fmla="*/ 3038090 w 4997428"/>
              <a:gd name="connsiteY69" fmla="*/ 5232401 h 5232401"/>
              <a:gd name="connsiteX70" fmla="*/ 2939508 w 4997428"/>
              <a:gd name="connsiteY70" fmla="*/ 5168333 h 5232401"/>
              <a:gd name="connsiteX71" fmla="*/ 2341890 w 4997428"/>
              <a:gd name="connsiteY71" fmla="*/ 4487205 h 5232401"/>
              <a:gd name="connsiteX72" fmla="*/ 1804694 w 4997428"/>
              <a:gd name="connsiteY72" fmla="*/ 1983166 h 5232401"/>
              <a:gd name="connsiteX73" fmla="*/ 1838941 w 4997428"/>
              <a:gd name="connsiteY73" fmla="*/ 1229656 h 5232401"/>
              <a:gd name="connsiteX74" fmla="*/ 1870743 w 4997428"/>
              <a:gd name="connsiteY74" fmla="*/ 939205 h 5232401"/>
              <a:gd name="connsiteX75" fmla="*/ 1985716 w 4997428"/>
              <a:gd name="connsiteY75" fmla="*/ 829675 h 5232401"/>
              <a:gd name="connsiteX76" fmla="*/ 3454840 w 4997428"/>
              <a:gd name="connsiteY76" fmla="*/ 225284 h 5232401"/>
              <a:gd name="connsiteX77" fmla="*/ 3475877 w 4997428"/>
              <a:gd name="connsiteY77" fmla="*/ 226752 h 5232401"/>
              <a:gd name="connsiteX78" fmla="*/ 3476366 w 4997428"/>
              <a:gd name="connsiteY78" fmla="*/ 227241 h 5232401"/>
              <a:gd name="connsiteX79" fmla="*/ 3477345 w 4997428"/>
              <a:gd name="connsiteY79" fmla="*/ 227241 h 5232401"/>
              <a:gd name="connsiteX80" fmla="*/ 3527736 w 4997428"/>
              <a:gd name="connsiteY80" fmla="*/ 247791 h 5232401"/>
              <a:gd name="connsiteX81" fmla="*/ 3528226 w 4997428"/>
              <a:gd name="connsiteY81" fmla="*/ 248280 h 5232401"/>
              <a:gd name="connsiteX82" fmla="*/ 3529204 w 4997428"/>
              <a:gd name="connsiteY82" fmla="*/ 248769 h 5232401"/>
              <a:gd name="connsiteX83" fmla="*/ 3826172 w 4997428"/>
              <a:gd name="connsiteY83" fmla="*/ 449371 h 5232401"/>
              <a:gd name="connsiteX84" fmla="*/ 4276762 w 4997428"/>
              <a:gd name="connsiteY84" fmla="*/ 798712 h 5232401"/>
              <a:gd name="connsiteX85" fmla="*/ 3902494 w 4997428"/>
              <a:gd name="connsiteY85" fmla="*/ 1684785 h 5232401"/>
              <a:gd name="connsiteX86" fmla="*/ 3130963 w 4997428"/>
              <a:gd name="connsiteY86" fmla="*/ 1155881 h 5232401"/>
              <a:gd name="connsiteX87" fmla="*/ 3342314 w 4997428"/>
              <a:gd name="connsiteY87" fmla="*/ 323139 h 5232401"/>
              <a:gd name="connsiteX88" fmla="*/ 3345250 w 4997428"/>
              <a:gd name="connsiteY88" fmla="*/ 314332 h 5232401"/>
              <a:gd name="connsiteX89" fmla="*/ 3454840 w 4997428"/>
              <a:gd name="connsiteY89" fmla="*/ 225284 h 5232401"/>
              <a:gd name="connsiteX90" fmla="*/ 4997428 w 4997428"/>
              <a:gd name="connsiteY90" fmla="*/ 0 h 5232401"/>
              <a:gd name="connsiteX91" fmla="*/ 4996450 w 4997428"/>
              <a:gd name="connsiteY91" fmla="*/ 3311432 h 5232401"/>
              <a:gd name="connsiteX92" fmla="*/ 4030887 w 4997428"/>
              <a:gd name="connsiteY92" fmla="*/ 1977273 h 5232401"/>
              <a:gd name="connsiteX93" fmla="*/ 4879116 w 4997428"/>
              <a:gd name="connsiteY93" fmla="*/ 134003 h 5232401"/>
              <a:gd name="connsiteX94" fmla="*/ 4930450 w 4997428"/>
              <a:gd name="connsiteY94" fmla="*/ 52819 h 5232401"/>
              <a:gd name="connsiteX95" fmla="*/ 4997428 w 4997428"/>
              <a:gd name="connsiteY95" fmla="*/ 0 h 523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4997428" h="5232401">
                <a:moveTo>
                  <a:pt x="1715698" y="3352613"/>
                </a:moveTo>
                <a:cubicBezTo>
                  <a:pt x="1810607" y="3830261"/>
                  <a:pt x="1959330" y="4247774"/>
                  <a:pt x="2156976" y="4593909"/>
                </a:cubicBezTo>
                <a:cubicBezTo>
                  <a:pt x="2267417" y="4787877"/>
                  <a:pt x="2392719" y="4955995"/>
                  <a:pt x="2531849" y="5098469"/>
                </a:cubicBezTo>
                <a:lnTo>
                  <a:pt x="2675549" y="5232401"/>
                </a:lnTo>
                <a:lnTo>
                  <a:pt x="1556208" y="5232401"/>
                </a:lnTo>
                <a:lnTo>
                  <a:pt x="1356550" y="5183062"/>
                </a:lnTo>
                <a:cubicBezTo>
                  <a:pt x="400986" y="4928164"/>
                  <a:pt x="78673" y="4559748"/>
                  <a:pt x="33267" y="4501998"/>
                </a:cubicBezTo>
                <a:cubicBezTo>
                  <a:pt x="33267" y="4501998"/>
                  <a:pt x="33267" y="4501998"/>
                  <a:pt x="32778" y="4501509"/>
                </a:cubicBezTo>
                <a:cubicBezTo>
                  <a:pt x="10763" y="4468264"/>
                  <a:pt x="0" y="4431597"/>
                  <a:pt x="0" y="4392486"/>
                </a:cubicBezTo>
                <a:cubicBezTo>
                  <a:pt x="0" y="4328930"/>
                  <a:pt x="29843" y="4267330"/>
                  <a:pt x="77786" y="4231641"/>
                </a:cubicBezTo>
                <a:cubicBezTo>
                  <a:pt x="77786" y="4231641"/>
                  <a:pt x="103715" y="4214529"/>
                  <a:pt x="150191" y="4183240"/>
                </a:cubicBezTo>
                <a:cubicBezTo>
                  <a:pt x="150191" y="4183240"/>
                  <a:pt x="150191" y="4183240"/>
                  <a:pt x="150680" y="4182752"/>
                </a:cubicBezTo>
                <a:cubicBezTo>
                  <a:pt x="150680" y="4182752"/>
                  <a:pt x="150680" y="4182752"/>
                  <a:pt x="151170" y="4182263"/>
                </a:cubicBezTo>
                <a:cubicBezTo>
                  <a:pt x="186393" y="4155862"/>
                  <a:pt x="236783" y="4122618"/>
                  <a:pt x="300382" y="4080573"/>
                </a:cubicBezTo>
                <a:cubicBezTo>
                  <a:pt x="317505" y="4069818"/>
                  <a:pt x="335117" y="4058084"/>
                  <a:pt x="353707" y="4045862"/>
                </a:cubicBezTo>
                <a:cubicBezTo>
                  <a:pt x="511725" y="3944661"/>
                  <a:pt x="765631" y="3791149"/>
                  <a:pt x="1076776" y="3635682"/>
                </a:cubicBezTo>
                <a:cubicBezTo>
                  <a:pt x="1292033" y="3527148"/>
                  <a:pt x="1506801" y="3431814"/>
                  <a:pt x="1715698" y="3352613"/>
                </a:cubicBezTo>
                <a:close/>
                <a:moveTo>
                  <a:pt x="863321" y="2153521"/>
                </a:moveTo>
                <a:cubicBezTo>
                  <a:pt x="889759" y="2153521"/>
                  <a:pt x="917666" y="2153521"/>
                  <a:pt x="947042" y="2154010"/>
                </a:cubicBezTo>
                <a:cubicBezTo>
                  <a:pt x="1086087" y="2155479"/>
                  <a:pt x="1309832" y="2163310"/>
                  <a:pt x="1593308" y="2189739"/>
                </a:cubicBezTo>
                <a:cubicBezTo>
                  <a:pt x="1601141" y="2514728"/>
                  <a:pt x="1629538" y="2832864"/>
                  <a:pt x="1677518" y="3136317"/>
                </a:cubicBezTo>
                <a:cubicBezTo>
                  <a:pt x="1448877" y="3222948"/>
                  <a:pt x="1212892" y="3326710"/>
                  <a:pt x="974949" y="3444665"/>
                </a:cubicBezTo>
                <a:cubicBezTo>
                  <a:pt x="510323" y="2858805"/>
                  <a:pt x="439332" y="2469699"/>
                  <a:pt x="428560" y="2363980"/>
                </a:cubicBezTo>
                <a:cubicBezTo>
                  <a:pt x="425133" y="2327762"/>
                  <a:pt x="445207" y="2272455"/>
                  <a:pt x="460384" y="2250430"/>
                </a:cubicBezTo>
                <a:cubicBezTo>
                  <a:pt x="498083" y="2195123"/>
                  <a:pt x="554386" y="2161841"/>
                  <a:pt x="616075" y="2157926"/>
                </a:cubicBezTo>
                <a:cubicBezTo>
                  <a:pt x="616565" y="2157926"/>
                  <a:pt x="708609" y="2153521"/>
                  <a:pt x="863321" y="2153521"/>
                </a:cubicBezTo>
                <a:close/>
                <a:moveTo>
                  <a:pt x="3345492" y="1662983"/>
                </a:moveTo>
                <a:cubicBezTo>
                  <a:pt x="3359682" y="1662983"/>
                  <a:pt x="3374851" y="1669339"/>
                  <a:pt x="3391977" y="1682541"/>
                </a:cubicBezTo>
                <a:cubicBezTo>
                  <a:pt x="3392466" y="1683030"/>
                  <a:pt x="3409103" y="1695254"/>
                  <a:pt x="3439930" y="1722147"/>
                </a:cubicBezTo>
                <a:cubicBezTo>
                  <a:pt x="3471246" y="1747084"/>
                  <a:pt x="3515774" y="1785712"/>
                  <a:pt x="3577428" y="1839987"/>
                </a:cubicBezTo>
                <a:cubicBezTo>
                  <a:pt x="3659634" y="1913331"/>
                  <a:pt x="3826980" y="2067843"/>
                  <a:pt x="4022218" y="2282497"/>
                </a:cubicBezTo>
                <a:cubicBezTo>
                  <a:pt x="4330978" y="2626237"/>
                  <a:pt x="4740536" y="3168006"/>
                  <a:pt x="4935285" y="3795833"/>
                </a:cubicBezTo>
                <a:cubicBezTo>
                  <a:pt x="4960240" y="3876512"/>
                  <a:pt x="4978345" y="3929320"/>
                  <a:pt x="4997428" y="4005598"/>
                </a:cubicBezTo>
                <a:lnTo>
                  <a:pt x="4997428" y="4007994"/>
                </a:lnTo>
                <a:lnTo>
                  <a:pt x="4997428" y="4024767"/>
                </a:lnTo>
                <a:lnTo>
                  <a:pt x="4997428" y="4043037"/>
                </a:lnTo>
                <a:lnTo>
                  <a:pt x="4997428" y="4070293"/>
                </a:lnTo>
                <a:lnTo>
                  <a:pt x="4997428" y="4108331"/>
                </a:lnTo>
                <a:lnTo>
                  <a:pt x="4997428" y="4158949"/>
                </a:lnTo>
                <a:lnTo>
                  <a:pt x="4997428" y="4223943"/>
                </a:lnTo>
                <a:lnTo>
                  <a:pt x="4997428" y="4305111"/>
                </a:lnTo>
                <a:lnTo>
                  <a:pt x="4997428" y="4404250"/>
                </a:lnTo>
                <a:lnTo>
                  <a:pt x="4997428" y="4523156"/>
                </a:lnTo>
                <a:lnTo>
                  <a:pt x="4997428" y="4663628"/>
                </a:lnTo>
                <a:lnTo>
                  <a:pt x="4997428" y="4827461"/>
                </a:lnTo>
                <a:lnTo>
                  <a:pt x="4997428" y="5016454"/>
                </a:lnTo>
                <a:lnTo>
                  <a:pt x="4997428" y="5232401"/>
                </a:lnTo>
                <a:lnTo>
                  <a:pt x="3778537" y="5232401"/>
                </a:lnTo>
                <a:lnTo>
                  <a:pt x="3635107" y="5096624"/>
                </a:lnTo>
                <a:cubicBezTo>
                  <a:pt x="3497761" y="4947827"/>
                  <a:pt x="3381335" y="4759698"/>
                  <a:pt x="3309772" y="4529764"/>
                </a:cubicBezTo>
                <a:cubicBezTo>
                  <a:pt x="3193803" y="4155220"/>
                  <a:pt x="3134596" y="3713199"/>
                  <a:pt x="3134596" y="3215925"/>
                </a:cubicBezTo>
                <a:cubicBezTo>
                  <a:pt x="3134596" y="2598366"/>
                  <a:pt x="3224630" y="2060509"/>
                  <a:pt x="3263287" y="1857590"/>
                </a:cubicBezTo>
                <a:cubicBezTo>
                  <a:pt x="3277966" y="1783267"/>
                  <a:pt x="3286774" y="1742195"/>
                  <a:pt x="3286774" y="1742195"/>
                </a:cubicBezTo>
                <a:cubicBezTo>
                  <a:pt x="3296071" y="1706989"/>
                  <a:pt x="3313686" y="1662983"/>
                  <a:pt x="3345492" y="1662983"/>
                </a:cubicBezTo>
                <a:close/>
                <a:moveTo>
                  <a:pt x="1985716" y="829675"/>
                </a:moveTo>
                <a:cubicBezTo>
                  <a:pt x="1997948" y="829675"/>
                  <a:pt x="2017518" y="832120"/>
                  <a:pt x="2042469" y="842388"/>
                </a:cubicBezTo>
                <a:cubicBezTo>
                  <a:pt x="2042469" y="842388"/>
                  <a:pt x="2042469" y="842388"/>
                  <a:pt x="2043448" y="842877"/>
                </a:cubicBezTo>
                <a:cubicBezTo>
                  <a:pt x="2043448" y="842877"/>
                  <a:pt x="2043448" y="842877"/>
                  <a:pt x="2043937" y="842877"/>
                </a:cubicBezTo>
                <a:cubicBezTo>
                  <a:pt x="2044426" y="842877"/>
                  <a:pt x="2073781" y="853635"/>
                  <a:pt x="2127599" y="878572"/>
                </a:cubicBezTo>
                <a:cubicBezTo>
                  <a:pt x="2179949" y="899598"/>
                  <a:pt x="2249422" y="932360"/>
                  <a:pt x="2337487" y="973433"/>
                </a:cubicBezTo>
                <a:cubicBezTo>
                  <a:pt x="2337487" y="973433"/>
                  <a:pt x="2337487" y="973433"/>
                  <a:pt x="2367820" y="987614"/>
                </a:cubicBezTo>
                <a:cubicBezTo>
                  <a:pt x="2638376" y="1118659"/>
                  <a:pt x="2902081" y="1264862"/>
                  <a:pt x="3151109" y="1421823"/>
                </a:cubicBezTo>
                <a:cubicBezTo>
                  <a:pt x="3179486" y="1437959"/>
                  <a:pt x="3207862" y="1456051"/>
                  <a:pt x="3235749" y="1474632"/>
                </a:cubicBezTo>
                <a:cubicBezTo>
                  <a:pt x="3158937" y="1513261"/>
                  <a:pt x="3099738" y="1594431"/>
                  <a:pt x="3077722" y="1695160"/>
                </a:cubicBezTo>
                <a:cubicBezTo>
                  <a:pt x="3077232" y="1698094"/>
                  <a:pt x="3076743" y="1701028"/>
                  <a:pt x="3075765" y="1705428"/>
                </a:cubicBezTo>
                <a:cubicBezTo>
                  <a:pt x="3039560" y="1877547"/>
                  <a:pt x="2920183" y="2495122"/>
                  <a:pt x="2920183" y="3215871"/>
                </a:cubicBezTo>
                <a:cubicBezTo>
                  <a:pt x="2920183" y="3734673"/>
                  <a:pt x="2982318" y="4197732"/>
                  <a:pt x="3104141" y="4592334"/>
                </a:cubicBezTo>
                <a:cubicBezTo>
                  <a:pt x="3169456" y="4799171"/>
                  <a:pt x="3262842" y="4968050"/>
                  <a:pt x="3365309" y="5105368"/>
                </a:cubicBezTo>
                <a:lnTo>
                  <a:pt x="3470099" y="5232401"/>
                </a:lnTo>
                <a:lnTo>
                  <a:pt x="3038090" y="5232401"/>
                </a:lnTo>
                <a:lnTo>
                  <a:pt x="2939508" y="5168333"/>
                </a:lnTo>
                <a:cubicBezTo>
                  <a:pt x="2712833" y="5008865"/>
                  <a:pt x="2510131" y="4779856"/>
                  <a:pt x="2341890" y="4487205"/>
                </a:cubicBezTo>
                <a:cubicBezTo>
                  <a:pt x="1897651" y="3710224"/>
                  <a:pt x="1804694" y="2696580"/>
                  <a:pt x="1804694" y="1983166"/>
                </a:cubicBezTo>
                <a:cubicBezTo>
                  <a:pt x="1804694" y="1730366"/>
                  <a:pt x="1815947" y="1477077"/>
                  <a:pt x="1838941" y="1229656"/>
                </a:cubicBezTo>
                <a:cubicBezTo>
                  <a:pt x="1855576" y="1048246"/>
                  <a:pt x="1870743" y="940183"/>
                  <a:pt x="1870743" y="939205"/>
                </a:cubicBezTo>
                <a:cubicBezTo>
                  <a:pt x="1884442" y="867815"/>
                  <a:pt x="1922114" y="831631"/>
                  <a:pt x="1985716" y="829675"/>
                </a:cubicBezTo>
                <a:close/>
                <a:moveTo>
                  <a:pt x="3454840" y="225284"/>
                </a:moveTo>
                <a:cubicBezTo>
                  <a:pt x="3461689" y="225284"/>
                  <a:pt x="3468538" y="225773"/>
                  <a:pt x="3475877" y="226752"/>
                </a:cubicBezTo>
                <a:cubicBezTo>
                  <a:pt x="3475877" y="226752"/>
                  <a:pt x="3475877" y="226752"/>
                  <a:pt x="3476366" y="227241"/>
                </a:cubicBezTo>
                <a:cubicBezTo>
                  <a:pt x="3476366" y="227241"/>
                  <a:pt x="3476366" y="227241"/>
                  <a:pt x="3477345" y="227241"/>
                </a:cubicBezTo>
                <a:cubicBezTo>
                  <a:pt x="3493490" y="228709"/>
                  <a:pt x="3510613" y="235559"/>
                  <a:pt x="3527736" y="247791"/>
                </a:cubicBezTo>
                <a:cubicBezTo>
                  <a:pt x="3527736" y="247791"/>
                  <a:pt x="3527736" y="247791"/>
                  <a:pt x="3528226" y="248280"/>
                </a:cubicBezTo>
                <a:cubicBezTo>
                  <a:pt x="3528226" y="248280"/>
                  <a:pt x="3528226" y="248280"/>
                  <a:pt x="3529204" y="248769"/>
                </a:cubicBezTo>
                <a:cubicBezTo>
                  <a:pt x="3530182" y="249259"/>
                  <a:pt x="3646621" y="320692"/>
                  <a:pt x="3826172" y="449371"/>
                </a:cubicBezTo>
                <a:cubicBezTo>
                  <a:pt x="3925488" y="520805"/>
                  <a:pt x="4083512" y="638719"/>
                  <a:pt x="4276762" y="798712"/>
                </a:cubicBezTo>
                <a:cubicBezTo>
                  <a:pt x="4136350" y="1090318"/>
                  <a:pt x="4010616" y="1388285"/>
                  <a:pt x="3902494" y="1684785"/>
                </a:cubicBezTo>
                <a:cubicBezTo>
                  <a:pt x="3671573" y="1502775"/>
                  <a:pt x="3418636" y="1329573"/>
                  <a:pt x="3130963" y="1155881"/>
                </a:cubicBezTo>
                <a:cubicBezTo>
                  <a:pt x="3212666" y="743913"/>
                  <a:pt x="3305622" y="437139"/>
                  <a:pt x="3342314" y="323139"/>
                </a:cubicBezTo>
                <a:cubicBezTo>
                  <a:pt x="3343782" y="319224"/>
                  <a:pt x="3344271" y="316778"/>
                  <a:pt x="3345250" y="314332"/>
                </a:cubicBezTo>
                <a:cubicBezTo>
                  <a:pt x="3367755" y="255130"/>
                  <a:pt x="3404448" y="225284"/>
                  <a:pt x="3454840" y="225284"/>
                </a:cubicBezTo>
                <a:close/>
                <a:moveTo>
                  <a:pt x="4997428" y="0"/>
                </a:moveTo>
                <a:cubicBezTo>
                  <a:pt x="4997428" y="0"/>
                  <a:pt x="4997428" y="0"/>
                  <a:pt x="4996450" y="3311432"/>
                </a:cubicBezTo>
                <a:cubicBezTo>
                  <a:pt x="4786715" y="2861007"/>
                  <a:pt x="4449868" y="2413516"/>
                  <a:pt x="4030887" y="1977273"/>
                </a:cubicBezTo>
                <a:cubicBezTo>
                  <a:pt x="4316889" y="1108212"/>
                  <a:pt x="4718759" y="399563"/>
                  <a:pt x="4879116" y="134003"/>
                </a:cubicBezTo>
                <a:cubicBezTo>
                  <a:pt x="4912850" y="80695"/>
                  <a:pt x="4930450" y="52819"/>
                  <a:pt x="4930450" y="52819"/>
                </a:cubicBezTo>
                <a:cubicBezTo>
                  <a:pt x="4962717" y="3912"/>
                  <a:pt x="4989606" y="0"/>
                  <a:pt x="4997428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an image and click reset in Home tab to fill the image in the shape</a:t>
            </a:r>
            <a:br>
              <a:rPr lang="en-GB"/>
            </a:br>
            <a:r>
              <a:rPr lang="en-GB"/>
              <a:t>If no image is inserted, this will stay as 50% transparent white shape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3ECE1A18-33D8-41AB-85CB-0266D44674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768" y="3599135"/>
            <a:ext cx="5552920" cy="984885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1200"/>
              </a:spcAft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ubtitle goes here</a:t>
            </a:r>
          </a:p>
          <a:p>
            <a:pPr lvl="1"/>
            <a:r>
              <a:rPr lang="en-US"/>
              <a:t>Presenter Name</a:t>
            </a:r>
            <a:br>
              <a:rPr lang="en-US"/>
            </a:b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8B4D21-31D3-AC42-9509-48CEBD66497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704" y="5796874"/>
            <a:ext cx="780446" cy="84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90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4.07407E-6 L -0.03659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6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1.48148E-6 L 0.02865 1.48148E-6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37" grpId="0" animBg="1"/>
      <p:bldP spid="37" grpId="1" animBg="1"/>
      <p:bldP spid="83" grpId="0" uiExpand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B2)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>
            <a:extLst>
              <a:ext uri="{FF2B5EF4-FFF2-40B4-BE49-F238E27FC236}">
                <a16:creationId xmlns:a16="http://schemas.microsoft.com/office/drawing/2014/main" id="{7B57D39A-F5EF-4E9F-8855-867812DCC7D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4D1DA5-55F2-40D3-B419-631F81A7B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68" y="2189852"/>
            <a:ext cx="5552921" cy="1181862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goes here</a:t>
            </a:r>
            <a:endParaRPr lang="en-GB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FB92D7A7-9D03-4CDA-8900-92AFCEA1272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94572" y="1625597"/>
            <a:ext cx="4997428" cy="5232401"/>
          </a:xfrm>
          <a:custGeom>
            <a:avLst/>
            <a:gdLst>
              <a:gd name="connsiteX0" fmla="*/ 1715698 w 4997428"/>
              <a:gd name="connsiteY0" fmla="*/ 3352613 h 5232401"/>
              <a:gd name="connsiteX1" fmla="*/ 2156976 w 4997428"/>
              <a:gd name="connsiteY1" fmla="*/ 4593909 h 5232401"/>
              <a:gd name="connsiteX2" fmla="*/ 2531849 w 4997428"/>
              <a:gd name="connsiteY2" fmla="*/ 5098469 h 5232401"/>
              <a:gd name="connsiteX3" fmla="*/ 2675549 w 4997428"/>
              <a:gd name="connsiteY3" fmla="*/ 5232401 h 5232401"/>
              <a:gd name="connsiteX4" fmla="*/ 1556208 w 4997428"/>
              <a:gd name="connsiteY4" fmla="*/ 5232401 h 5232401"/>
              <a:gd name="connsiteX5" fmla="*/ 1356550 w 4997428"/>
              <a:gd name="connsiteY5" fmla="*/ 5183062 h 5232401"/>
              <a:gd name="connsiteX6" fmla="*/ 33267 w 4997428"/>
              <a:gd name="connsiteY6" fmla="*/ 4501998 h 5232401"/>
              <a:gd name="connsiteX7" fmla="*/ 32778 w 4997428"/>
              <a:gd name="connsiteY7" fmla="*/ 4501509 h 5232401"/>
              <a:gd name="connsiteX8" fmla="*/ 0 w 4997428"/>
              <a:gd name="connsiteY8" fmla="*/ 4392486 h 5232401"/>
              <a:gd name="connsiteX9" fmla="*/ 77786 w 4997428"/>
              <a:gd name="connsiteY9" fmla="*/ 4231641 h 5232401"/>
              <a:gd name="connsiteX10" fmla="*/ 150191 w 4997428"/>
              <a:gd name="connsiteY10" fmla="*/ 4183240 h 5232401"/>
              <a:gd name="connsiteX11" fmla="*/ 150680 w 4997428"/>
              <a:gd name="connsiteY11" fmla="*/ 4182752 h 5232401"/>
              <a:gd name="connsiteX12" fmla="*/ 151170 w 4997428"/>
              <a:gd name="connsiteY12" fmla="*/ 4182263 h 5232401"/>
              <a:gd name="connsiteX13" fmla="*/ 300382 w 4997428"/>
              <a:gd name="connsiteY13" fmla="*/ 4080573 h 5232401"/>
              <a:gd name="connsiteX14" fmla="*/ 353707 w 4997428"/>
              <a:gd name="connsiteY14" fmla="*/ 4045862 h 5232401"/>
              <a:gd name="connsiteX15" fmla="*/ 1076776 w 4997428"/>
              <a:gd name="connsiteY15" fmla="*/ 3635682 h 5232401"/>
              <a:gd name="connsiteX16" fmla="*/ 1715698 w 4997428"/>
              <a:gd name="connsiteY16" fmla="*/ 3352613 h 5232401"/>
              <a:gd name="connsiteX17" fmla="*/ 863321 w 4997428"/>
              <a:gd name="connsiteY17" fmla="*/ 2153521 h 5232401"/>
              <a:gd name="connsiteX18" fmla="*/ 947042 w 4997428"/>
              <a:gd name="connsiteY18" fmla="*/ 2154010 h 5232401"/>
              <a:gd name="connsiteX19" fmla="*/ 1593308 w 4997428"/>
              <a:gd name="connsiteY19" fmla="*/ 2189739 h 5232401"/>
              <a:gd name="connsiteX20" fmla="*/ 1677518 w 4997428"/>
              <a:gd name="connsiteY20" fmla="*/ 3136317 h 5232401"/>
              <a:gd name="connsiteX21" fmla="*/ 974949 w 4997428"/>
              <a:gd name="connsiteY21" fmla="*/ 3444665 h 5232401"/>
              <a:gd name="connsiteX22" fmla="*/ 428560 w 4997428"/>
              <a:gd name="connsiteY22" fmla="*/ 2363980 h 5232401"/>
              <a:gd name="connsiteX23" fmla="*/ 460384 w 4997428"/>
              <a:gd name="connsiteY23" fmla="*/ 2250430 h 5232401"/>
              <a:gd name="connsiteX24" fmla="*/ 616075 w 4997428"/>
              <a:gd name="connsiteY24" fmla="*/ 2157926 h 5232401"/>
              <a:gd name="connsiteX25" fmla="*/ 863321 w 4997428"/>
              <a:gd name="connsiteY25" fmla="*/ 2153521 h 5232401"/>
              <a:gd name="connsiteX26" fmla="*/ 3345492 w 4997428"/>
              <a:gd name="connsiteY26" fmla="*/ 1662983 h 5232401"/>
              <a:gd name="connsiteX27" fmla="*/ 3391977 w 4997428"/>
              <a:gd name="connsiteY27" fmla="*/ 1682541 h 5232401"/>
              <a:gd name="connsiteX28" fmla="*/ 3439930 w 4997428"/>
              <a:gd name="connsiteY28" fmla="*/ 1722147 h 5232401"/>
              <a:gd name="connsiteX29" fmla="*/ 3577428 w 4997428"/>
              <a:gd name="connsiteY29" fmla="*/ 1839987 h 5232401"/>
              <a:gd name="connsiteX30" fmla="*/ 4022218 w 4997428"/>
              <a:gd name="connsiteY30" fmla="*/ 2282497 h 5232401"/>
              <a:gd name="connsiteX31" fmla="*/ 4935285 w 4997428"/>
              <a:gd name="connsiteY31" fmla="*/ 3795833 h 5232401"/>
              <a:gd name="connsiteX32" fmla="*/ 4997428 w 4997428"/>
              <a:gd name="connsiteY32" fmla="*/ 4005598 h 5232401"/>
              <a:gd name="connsiteX33" fmla="*/ 4997428 w 4997428"/>
              <a:gd name="connsiteY33" fmla="*/ 4007994 h 5232401"/>
              <a:gd name="connsiteX34" fmla="*/ 4997428 w 4997428"/>
              <a:gd name="connsiteY34" fmla="*/ 4024767 h 5232401"/>
              <a:gd name="connsiteX35" fmla="*/ 4997428 w 4997428"/>
              <a:gd name="connsiteY35" fmla="*/ 4043037 h 5232401"/>
              <a:gd name="connsiteX36" fmla="*/ 4997428 w 4997428"/>
              <a:gd name="connsiteY36" fmla="*/ 4070293 h 5232401"/>
              <a:gd name="connsiteX37" fmla="*/ 4997428 w 4997428"/>
              <a:gd name="connsiteY37" fmla="*/ 4108331 h 5232401"/>
              <a:gd name="connsiteX38" fmla="*/ 4997428 w 4997428"/>
              <a:gd name="connsiteY38" fmla="*/ 4158949 h 5232401"/>
              <a:gd name="connsiteX39" fmla="*/ 4997428 w 4997428"/>
              <a:gd name="connsiteY39" fmla="*/ 4223943 h 5232401"/>
              <a:gd name="connsiteX40" fmla="*/ 4997428 w 4997428"/>
              <a:gd name="connsiteY40" fmla="*/ 4305111 h 5232401"/>
              <a:gd name="connsiteX41" fmla="*/ 4997428 w 4997428"/>
              <a:gd name="connsiteY41" fmla="*/ 4404250 h 5232401"/>
              <a:gd name="connsiteX42" fmla="*/ 4997428 w 4997428"/>
              <a:gd name="connsiteY42" fmla="*/ 4523156 h 5232401"/>
              <a:gd name="connsiteX43" fmla="*/ 4997428 w 4997428"/>
              <a:gd name="connsiteY43" fmla="*/ 4663628 h 5232401"/>
              <a:gd name="connsiteX44" fmla="*/ 4997428 w 4997428"/>
              <a:gd name="connsiteY44" fmla="*/ 4827461 h 5232401"/>
              <a:gd name="connsiteX45" fmla="*/ 4997428 w 4997428"/>
              <a:gd name="connsiteY45" fmla="*/ 5016454 h 5232401"/>
              <a:gd name="connsiteX46" fmla="*/ 4997428 w 4997428"/>
              <a:gd name="connsiteY46" fmla="*/ 5232401 h 5232401"/>
              <a:gd name="connsiteX47" fmla="*/ 3778537 w 4997428"/>
              <a:gd name="connsiteY47" fmla="*/ 5232401 h 5232401"/>
              <a:gd name="connsiteX48" fmla="*/ 3635107 w 4997428"/>
              <a:gd name="connsiteY48" fmla="*/ 5096624 h 5232401"/>
              <a:gd name="connsiteX49" fmla="*/ 3309772 w 4997428"/>
              <a:gd name="connsiteY49" fmla="*/ 4529764 h 5232401"/>
              <a:gd name="connsiteX50" fmla="*/ 3134596 w 4997428"/>
              <a:gd name="connsiteY50" fmla="*/ 3215925 h 5232401"/>
              <a:gd name="connsiteX51" fmla="*/ 3263287 w 4997428"/>
              <a:gd name="connsiteY51" fmla="*/ 1857590 h 5232401"/>
              <a:gd name="connsiteX52" fmla="*/ 3286774 w 4997428"/>
              <a:gd name="connsiteY52" fmla="*/ 1742195 h 5232401"/>
              <a:gd name="connsiteX53" fmla="*/ 3345492 w 4997428"/>
              <a:gd name="connsiteY53" fmla="*/ 1662983 h 5232401"/>
              <a:gd name="connsiteX54" fmla="*/ 1985716 w 4997428"/>
              <a:gd name="connsiteY54" fmla="*/ 829675 h 5232401"/>
              <a:gd name="connsiteX55" fmla="*/ 2042469 w 4997428"/>
              <a:gd name="connsiteY55" fmla="*/ 842388 h 5232401"/>
              <a:gd name="connsiteX56" fmla="*/ 2043448 w 4997428"/>
              <a:gd name="connsiteY56" fmla="*/ 842877 h 5232401"/>
              <a:gd name="connsiteX57" fmla="*/ 2043937 w 4997428"/>
              <a:gd name="connsiteY57" fmla="*/ 842877 h 5232401"/>
              <a:gd name="connsiteX58" fmla="*/ 2127599 w 4997428"/>
              <a:gd name="connsiteY58" fmla="*/ 878572 h 5232401"/>
              <a:gd name="connsiteX59" fmla="*/ 2337487 w 4997428"/>
              <a:gd name="connsiteY59" fmla="*/ 973433 h 5232401"/>
              <a:gd name="connsiteX60" fmla="*/ 2367820 w 4997428"/>
              <a:gd name="connsiteY60" fmla="*/ 987614 h 5232401"/>
              <a:gd name="connsiteX61" fmla="*/ 3151109 w 4997428"/>
              <a:gd name="connsiteY61" fmla="*/ 1421823 h 5232401"/>
              <a:gd name="connsiteX62" fmla="*/ 3235749 w 4997428"/>
              <a:gd name="connsiteY62" fmla="*/ 1474632 h 5232401"/>
              <a:gd name="connsiteX63" fmla="*/ 3077722 w 4997428"/>
              <a:gd name="connsiteY63" fmla="*/ 1695160 h 5232401"/>
              <a:gd name="connsiteX64" fmla="*/ 3075765 w 4997428"/>
              <a:gd name="connsiteY64" fmla="*/ 1705428 h 5232401"/>
              <a:gd name="connsiteX65" fmla="*/ 2920183 w 4997428"/>
              <a:gd name="connsiteY65" fmla="*/ 3215871 h 5232401"/>
              <a:gd name="connsiteX66" fmla="*/ 3104141 w 4997428"/>
              <a:gd name="connsiteY66" fmla="*/ 4592334 h 5232401"/>
              <a:gd name="connsiteX67" fmla="*/ 3365309 w 4997428"/>
              <a:gd name="connsiteY67" fmla="*/ 5105368 h 5232401"/>
              <a:gd name="connsiteX68" fmla="*/ 3470099 w 4997428"/>
              <a:gd name="connsiteY68" fmla="*/ 5232401 h 5232401"/>
              <a:gd name="connsiteX69" fmla="*/ 3038090 w 4997428"/>
              <a:gd name="connsiteY69" fmla="*/ 5232401 h 5232401"/>
              <a:gd name="connsiteX70" fmla="*/ 2939508 w 4997428"/>
              <a:gd name="connsiteY70" fmla="*/ 5168333 h 5232401"/>
              <a:gd name="connsiteX71" fmla="*/ 2341890 w 4997428"/>
              <a:gd name="connsiteY71" fmla="*/ 4487205 h 5232401"/>
              <a:gd name="connsiteX72" fmla="*/ 1804694 w 4997428"/>
              <a:gd name="connsiteY72" fmla="*/ 1983166 h 5232401"/>
              <a:gd name="connsiteX73" fmla="*/ 1838941 w 4997428"/>
              <a:gd name="connsiteY73" fmla="*/ 1229656 h 5232401"/>
              <a:gd name="connsiteX74" fmla="*/ 1870743 w 4997428"/>
              <a:gd name="connsiteY74" fmla="*/ 939205 h 5232401"/>
              <a:gd name="connsiteX75" fmla="*/ 1985716 w 4997428"/>
              <a:gd name="connsiteY75" fmla="*/ 829675 h 5232401"/>
              <a:gd name="connsiteX76" fmla="*/ 3454840 w 4997428"/>
              <a:gd name="connsiteY76" fmla="*/ 225284 h 5232401"/>
              <a:gd name="connsiteX77" fmla="*/ 3475877 w 4997428"/>
              <a:gd name="connsiteY77" fmla="*/ 226752 h 5232401"/>
              <a:gd name="connsiteX78" fmla="*/ 3476366 w 4997428"/>
              <a:gd name="connsiteY78" fmla="*/ 227241 h 5232401"/>
              <a:gd name="connsiteX79" fmla="*/ 3477345 w 4997428"/>
              <a:gd name="connsiteY79" fmla="*/ 227241 h 5232401"/>
              <a:gd name="connsiteX80" fmla="*/ 3527736 w 4997428"/>
              <a:gd name="connsiteY80" fmla="*/ 247791 h 5232401"/>
              <a:gd name="connsiteX81" fmla="*/ 3528226 w 4997428"/>
              <a:gd name="connsiteY81" fmla="*/ 248280 h 5232401"/>
              <a:gd name="connsiteX82" fmla="*/ 3529204 w 4997428"/>
              <a:gd name="connsiteY82" fmla="*/ 248769 h 5232401"/>
              <a:gd name="connsiteX83" fmla="*/ 3826172 w 4997428"/>
              <a:gd name="connsiteY83" fmla="*/ 449371 h 5232401"/>
              <a:gd name="connsiteX84" fmla="*/ 4276762 w 4997428"/>
              <a:gd name="connsiteY84" fmla="*/ 798712 h 5232401"/>
              <a:gd name="connsiteX85" fmla="*/ 3902494 w 4997428"/>
              <a:gd name="connsiteY85" fmla="*/ 1684785 h 5232401"/>
              <a:gd name="connsiteX86" fmla="*/ 3130963 w 4997428"/>
              <a:gd name="connsiteY86" fmla="*/ 1155881 h 5232401"/>
              <a:gd name="connsiteX87" fmla="*/ 3342314 w 4997428"/>
              <a:gd name="connsiteY87" fmla="*/ 323139 h 5232401"/>
              <a:gd name="connsiteX88" fmla="*/ 3345250 w 4997428"/>
              <a:gd name="connsiteY88" fmla="*/ 314332 h 5232401"/>
              <a:gd name="connsiteX89" fmla="*/ 3454840 w 4997428"/>
              <a:gd name="connsiteY89" fmla="*/ 225284 h 5232401"/>
              <a:gd name="connsiteX90" fmla="*/ 4997428 w 4997428"/>
              <a:gd name="connsiteY90" fmla="*/ 0 h 5232401"/>
              <a:gd name="connsiteX91" fmla="*/ 4996450 w 4997428"/>
              <a:gd name="connsiteY91" fmla="*/ 3311432 h 5232401"/>
              <a:gd name="connsiteX92" fmla="*/ 4030887 w 4997428"/>
              <a:gd name="connsiteY92" fmla="*/ 1977273 h 5232401"/>
              <a:gd name="connsiteX93" fmla="*/ 4879116 w 4997428"/>
              <a:gd name="connsiteY93" fmla="*/ 134003 h 5232401"/>
              <a:gd name="connsiteX94" fmla="*/ 4930450 w 4997428"/>
              <a:gd name="connsiteY94" fmla="*/ 52819 h 5232401"/>
              <a:gd name="connsiteX95" fmla="*/ 4997428 w 4997428"/>
              <a:gd name="connsiteY95" fmla="*/ 0 h 523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4997428" h="5232401">
                <a:moveTo>
                  <a:pt x="1715698" y="3352613"/>
                </a:moveTo>
                <a:cubicBezTo>
                  <a:pt x="1810607" y="3830261"/>
                  <a:pt x="1959330" y="4247774"/>
                  <a:pt x="2156976" y="4593909"/>
                </a:cubicBezTo>
                <a:cubicBezTo>
                  <a:pt x="2267417" y="4787877"/>
                  <a:pt x="2392719" y="4955995"/>
                  <a:pt x="2531849" y="5098469"/>
                </a:cubicBezTo>
                <a:lnTo>
                  <a:pt x="2675549" y="5232401"/>
                </a:lnTo>
                <a:lnTo>
                  <a:pt x="1556208" y="5232401"/>
                </a:lnTo>
                <a:lnTo>
                  <a:pt x="1356550" y="5183062"/>
                </a:lnTo>
                <a:cubicBezTo>
                  <a:pt x="400986" y="4928164"/>
                  <a:pt x="78673" y="4559748"/>
                  <a:pt x="33267" y="4501998"/>
                </a:cubicBezTo>
                <a:cubicBezTo>
                  <a:pt x="33267" y="4501998"/>
                  <a:pt x="33267" y="4501998"/>
                  <a:pt x="32778" y="4501509"/>
                </a:cubicBezTo>
                <a:cubicBezTo>
                  <a:pt x="10763" y="4468264"/>
                  <a:pt x="0" y="4431597"/>
                  <a:pt x="0" y="4392486"/>
                </a:cubicBezTo>
                <a:cubicBezTo>
                  <a:pt x="0" y="4328930"/>
                  <a:pt x="29843" y="4267330"/>
                  <a:pt x="77786" y="4231641"/>
                </a:cubicBezTo>
                <a:cubicBezTo>
                  <a:pt x="77786" y="4231641"/>
                  <a:pt x="103715" y="4214529"/>
                  <a:pt x="150191" y="4183240"/>
                </a:cubicBezTo>
                <a:cubicBezTo>
                  <a:pt x="150191" y="4183240"/>
                  <a:pt x="150191" y="4183240"/>
                  <a:pt x="150680" y="4182752"/>
                </a:cubicBezTo>
                <a:cubicBezTo>
                  <a:pt x="150680" y="4182752"/>
                  <a:pt x="150680" y="4182752"/>
                  <a:pt x="151170" y="4182263"/>
                </a:cubicBezTo>
                <a:cubicBezTo>
                  <a:pt x="186393" y="4155862"/>
                  <a:pt x="236783" y="4122618"/>
                  <a:pt x="300382" y="4080573"/>
                </a:cubicBezTo>
                <a:cubicBezTo>
                  <a:pt x="317505" y="4069818"/>
                  <a:pt x="335117" y="4058084"/>
                  <a:pt x="353707" y="4045862"/>
                </a:cubicBezTo>
                <a:cubicBezTo>
                  <a:pt x="511725" y="3944661"/>
                  <a:pt x="765631" y="3791149"/>
                  <a:pt x="1076776" y="3635682"/>
                </a:cubicBezTo>
                <a:cubicBezTo>
                  <a:pt x="1292033" y="3527148"/>
                  <a:pt x="1506801" y="3431814"/>
                  <a:pt x="1715698" y="3352613"/>
                </a:cubicBezTo>
                <a:close/>
                <a:moveTo>
                  <a:pt x="863321" y="2153521"/>
                </a:moveTo>
                <a:cubicBezTo>
                  <a:pt x="889759" y="2153521"/>
                  <a:pt x="917666" y="2153521"/>
                  <a:pt x="947042" y="2154010"/>
                </a:cubicBezTo>
                <a:cubicBezTo>
                  <a:pt x="1086087" y="2155479"/>
                  <a:pt x="1309832" y="2163310"/>
                  <a:pt x="1593308" y="2189739"/>
                </a:cubicBezTo>
                <a:cubicBezTo>
                  <a:pt x="1601141" y="2514728"/>
                  <a:pt x="1629538" y="2832864"/>
                  <a:pt x="1677518" y="3136317"/>
                </a:cubicBezTo>
                <a:cubicBezTo>
                  <a:pt x="1448877" y="3222948"/>
                  <a:pt x="1212892" y="3326710"/>
                  <a:pt x="974949" y="3444665"/>
                </a:cubicBezTo>
                <a:cubicBezTo>
                  <a:pt x="510323" y="2858805"/>
                  <a:pt x="439332" y="2469699"/>
                  <a:pt x="428560" y="2363980"/>
                </a:cubicBezTo>
                <a:cubicBezTo>
                  <a:pt x="425133" y="2327762"/>
                  <a:pt x="445207" y="2272455"/>
                  <a:pt x="460384" y="2250430"/>
                </a:cubicBezTo>
                <a:cubicBezTo>
                  <a:pt x="498083" y="2195123"/>
                  <a:pt x="554386" y="2161841"/>
                  <a:pt x="616075" y="2157926"/>
                </a:cubicBezTo>
                <a:cubicBezTo>
                  <a:pt x="616565" y="2157926"/>
                  <a:pt x="708609" y="2153521"/>
                  <a:pt x="863321" y="2153521"/>
                </a:cubicBezTo>
                <a:close/>
                <a:moveTo>
                  <a:pt x="3345492" y="1662983"/>
                </a:moveTo>
                <a:cubicBezTo>
                  <a:pt x="3359682" y="1662983"/>
                  <a:pt x="3374851" y="1669339"/>
                  <a:pt x="3391977" y="1682541"/>
                </a:cubicBezTo>
                <a:cubicBezTo>
                  <a:pt x="3392466" y="1683030"/>
                  <a:pt x="3409103" y="1695254"/>
                  <a:pt x="3439930" y="1722147"/>
                </a:cubicBezTo>
                <a:cubicBezTo>
                  <a:pt x="3471246" y="1747084"/>
                  <a:pt x="3515774" y="1785712"/>
                  <a:pt x="3577428" y="1839987"/>
                </a:cubicBezTo>
                <a:cubicBezTo>
                  <a:pt x="3659634" y="1913331"/>
                  <a:pt x="3826980" y="2067843"/>
                  <a:pt x="4022218" y="2282497"/>
                </a:cubicBezTo>
                <a:cubicBezTo>
                  <a:pt x="4330978" y="2626237"/>
                  <a:pt x="4740536" y="3168006"/>
                  <a:pt x="4935285" y="3795833"/>
                </a:cubicBezTo>
                <a:cubicBezTo>
                  <a:pt x="4960240" y="3876512"/>
                  <a:pt x="4978345" y="3929320"/>
                  <a:pt x="4997428" y="4005598"/>
                </a:cubicBezTo>
                <a:lnTo>
                  <a:pt x="4997428" y="4007994"/>
                </a:lnTo>
                <a:lnTo>
                  <a:pt x="4997428" y="4024767"/>
                </a:lnTo>
                <a:lnTo>
                  <a:pt x="4997428" y="4043037"/>
                </a:lnTo>
                <a:lnTo>
                  <a:pt x="4997428" y="4070293"/>
                </a:lnTo>
                <a:lnTo>
                  <a:pt x="4997428" y="4108331"/>
                </a:lnTo>
                <a:lnTo>
                  <a:pt x="4997428" y="4158949"/>
                </a:lnTo>
                <a:lnTo>
                  <a:pt x="4997428" y="4223943"/>
                </a:lnTo>
                <a:lnTo>
                  <a:pt x="4997428" y="4305111"/>
                </a:lnTo>
                <a:lnTo>
                  <a:pt x="4997428" y="4404250"/>
                </a:lnTo>
                <a:lnTo>
                  <a:pt x="4997428" y="4523156"/>
                </a:lnTo>
                <a:lnTo>
                  <a:pt x="4997428" y="4663628"/>
                </a:lnTo>
                <a:lnTo>
                  <a:pt x="4997428" y="4827461"/>
                </a:lnTo>
                <a:lnTo>
                  <a:pt x="4997428" y="5016454"/>
                </a:lnTo>
                <a:lnTo>
                  <a:pt x="4997428" y="5232401"/>
                </a:lnTo>
                <a:lnTo>
                  <a:pt x="3778537" y="5232401"/>
                </a:lnTo>
                <a:lnTo>
                  <a:pt x="3635107" y="5096624"/>
                </a:lnTo>
                <a:cubicBezTo>
                  <a:pt x="3497761" y="4947827"/>
                  <a:pt x="3381335" y="4759698"/>
                  <a:pt x="3309772" y="4529764"/>
                </a:cubicBezTo>
                <a:cubicBezTo>
                  <a:pt x="3193803" y="4155220"/>
                  <a:pt x="3134596" y="3713199"/>
                  <a:pt x="3134596" y="3215925"/>
                </a:cubicBezTo>
                <a:cubicBezTo>
                  <a:pt x="3134596" y="2598366"/>
                  <a:pt x="3224630" y="2060509"/>
                  <a:pt x="3263287" y="1857590"/>
                </a:cubicBezTo>
                <a:cubicBezTo>
                  <a:pt x="3277966" y="1783267"/>
                  <a:pt x="3286774" y="1742195"/>
                  <a:pt x="3286774" y="1742195"/>
                </a:cubicBezTo>
                <a:cubicBezTo>
                  <a:pt x="3296071" y="1706989"/>
                  <a:pt x="3313686" y="1662983"/>
                  <a:pt x="3345492" y="1662983"/>
                </a:cubicBezTo>
                <a:close/>
                <a:moveTo>
                  <a:pt x="1985716" y="829675"/>
                </a:moveTo>
                <a:cubicBezTo>
                  <a:pt x="1997948" y="829675"/>
                  <a:pt x="2017518" y="832120"/>
                  <a:pt x="2042469" y="842388"/>
                </a:cubicBezTo>
                <a:cubicBezTo>
                  <a:pt x="2042469" y="842388"/>
                  <a:pt x="2042469" y="842388"/>
                  <a:pt x="2043448" y="842877"/>
                </a:cubicBezTo>
                <a:cubicBezTo>
                  <a:pt x="2043448" y="842877"/>
                  <a:pt x="2043448" y="842877"/>
                  <a:pt x="2043937" y="842877"/>
                </a:cubicBezTo>
                <a:cubicBezTo>
                  <a:pt x="2044426" y="842877"/>
                  <a:pt x="2073781" y="853635"/>
                  <a:pt x="2127599" y="878572"/>
                </a:cubicBezTo>
                <a:cubicBezTo>
                  <a:pt x="2179949" y="899598"/>
                  <a:pt x="2249422" y="932360"/>
                  <a:pt x="2337487" y="973433"/>
                </a:cubicBezTo>
                <a:cubicBezTo>
                  <a:pt x="2337487" y="973433"/>
                  <a:pt x="2337487" y="973433"/>
                  <a:pt x="2367820" y="987614"/>
                </a:cubicBezTo>
                <a:cubicBezTo>
                  <a:pt x="2638376" y="1118659"/>
                  <a:pt x="2902081" y="1264862"/>
                  <a:pt x="3151109" y="1421823"/>
                </a:cubicBezTo>
                <a:cubicBezTo>
                  <a:pt x="3179486" y="1437959"/>
                  <a:pt x="3207862" y="1456051"/>
                  <a:pt x="3235749" y="1474632"/>
                </a:cubicBezTo>
                <a:cubicBezTo>
                  <a:pt x="3158937" y="1513261"/>
                  <a:pt x="3099738" y="1594431"/>
                  <a:pt x="3077722" y="1695160"/>
                </a:cubicBezTo>
                <a:cubicBezTo>
                  <a:pt x="3077232" y="1698094"/>
                  <a:pt x="3076743" y="1701028"/>
                  <a:pt x="3075765" y="1705428"/>
                </a:cubicBezTo>
                <a:cubicBezTo>
                  <a:pt x="3039560" y="1877547"/>
                  <a:pt x="2920183" y="2495122"/>
                  <a:pt x="2920183" y="3215871"/>
                </a:cubicBezTo>
                <a:cubicBezTo>
                  <a:pt x="2920183" y="3734673"/>
                  <a:pt x="2982318" y="4197732"/>
                  <a:pt x="3104141" y="4592334"/>
                </a:cubicBezTo>
                <a:cubicBezTo>
                  <a:pt x="3169456" y="4799171"/>
                  <a:pt x="3262842" y="4968050"/>
                  <a:pt x="3365309" y="5105368"/>
                </a:cubicBezTo>
                <a:lnTo>
                  <a:pt x="3470099" y="5232401"/>
                </a:lnTo>
                <a:lnTo>
                  <a:pt x="3038090" y="5232401"/>
                </a:lnTo>
                <a:lnTo>
                  <a:pt x="2939508" y="5168333"/>
                </a:lnTo>
                <a:cubicBezTo>
                  <a:pt x="2712833" y="5008865"/>
                  <a:pt x="2510131" y="4779856"/>
                  <a:pt x="2341890" y="4487205"/>
                </a:cubicBezTo>
                <a:cubicBezTo>
                  <a:pt x="1897651" y="3710224"/>
                  <a:pt x="1804694" y="2696580"/>
                  <a:pt x="1804694" y="1983166"/>
                </a:cubicBezTo>
                <a:cubicBezTo>
                  <a:pt x="1804694" y="1730366"/>
                  <a:pt x="1815947" y="1477077"/>
                  <a:pt x="1838941" y="1229656"/>
                </a:cubicBezTo>
                <a:cubicBezTo>
                  <a:pt x="1855576" y="1048246"/>
                  <a:pt x="1870743" y="940183"/>
                  <a:pt x="1870743" y="939205"/>
                </a:cubicBezTo>
                <a:cubicBezTo>
                  <a:pt x="1884442" y="867815"/>
                  <a:pt x="1922114" y="831631"/>
                  <a:pt x="1985716" y="829675"/>
                </a:cubicBezTo>
                <a:close/>
                <a:moveTo>
                  <a:pt x="3454840" y="225284"/>
                </a:moveTo>
                <a:cubicBezTo>
                  <a:pt x="3461689" y="225284"/>
                  <a:pt x="3468538" y="225773"/>
                  <a:pt x="3475877" y="226752"/>
                </a:cubicBezTo>
                <a:cubicBezTo>
                  <a:pt x="3475877" y="226752"/>
                  <a:pt x="3475877" y="226752"/>
                  <a:pt x="3476366" y="227241"/>
                </a:cubicBezTo>
                <a:cubicBezTo>
                  <a:pt x="3476366" y="227241"/>
                  <a:pt x="3476366" y="227241"/>
                  <a:pt x="3477345" y="227241"/>
                </a:cubicBezTo>
                <a:cubicBezTo>
                  <a:pt x="3493490" y="228709"/>
                  <a:pt x="3510613" y="235559"/>
                  <a:pt x="3527736" y="247791"/>
                </a:cubicBezTo>
                <a:cubicBezTo>
                  <a:pt x="3527736" y="247791"/>
                  <a:pt x="3527736" y="247791"/>
                  <a:pt x="3528226" y="248280"/>
                </a:cubicBezTo>
                <a:cubicBezTo>
                  <a:pt x="3528226" y="248280"/>
                  <a:pt x="3528226" y="248280"/>
                  <a:pt x="3529204" y="248769"/>
                </a:cubicBezTo>
                <a:cubicBezTo>
                  <a:pt x="3530182" y="249259"/>
                  <a:pt x="3646621" y="320692"/>
                  <a:pt x="3826172" y="449371"/>
                </a:cubicBezTo>
                <a:cubicBezTo>
                  <a:pt x="3925488" y="520805"/>
                  <a:pt x="4083512" y="638719"/>
                  <a:pt x="4276762" y="798712"/>
                </a:cubicBezTo>
                <a:cubicBezTo>
                  <a:pt x="4136350" y="1090318"/>
                  <a:pt x="4010616" y="1388285"/>
                  <a:pt x="3902494" y="1684785"/>
                </a:cubicBezTo>
                <a:cubicBezTo>
                  <a:pt x="3671573" y="1502775"/>
                  <a:pt x="3418636" y="1329573"/>
                  <a:pt x="3130963" y="1155881"/>
                </a:cubicBezTo>
                <a:cubicBezTo>
                  <a:pt x="3212666" y="743913"/>
                  <a:pt x="3305622" y="437139"/>
                  <a:pt x="3342314" y="323139"/>
                </a:cubicBezTo>
                <a:cubicBezTo>
                  <a:pt x="3343782" y="319224"/>
                  <a:pt x="3344271" y="316778"/>
                  <a:pt x="3345250" y="314332"/>
                </a:cubicBezTo>
                <a:cubicBezTo>
                  <a:pt x="3367755" y="255130"/>
                  <a:pt x="3404448" y="225284"/>
                  <a:pt x="3454840" y="225284"/>
                </a:cubicBezTo>
                <a:close/>
                <a:moveTo>
                  <a:pt x="4997428" y="0"/>
                </a:moveTo>
                <a:cubicBezTo>
                  <a:pt x="4997428" y="0"/>
                  <a:pt x="4997428" y="0"/>
                  <a:pt x="4996450" y="3311432"/>
                </a:cubicBezTo>
                <a:cubicBezTo>
                  <a:pt x="4786715" y="2861007"/>
                  <a:pt x="4449868" y="2413516"/>
                  <a:pt x="4030887" y="1977273"/>
                </a:cubicBezTo>
                <a:cubicBezTo>
                  <a:pt x="4316889" y="1108212"/>
                  <a:pt x="4718759" y="399563"/>
                  <a:pt x="4879116" y="134003"/>
                </a:cubicBezTo>
                <a:cubicBezTo>
                  <a:pt x="4912850" y="80695"/>
                  <a:pt x="4930450" y="52819"/>
                  <a:pt x="4930450" y="52819"/>
                </a:cubicBezTo>
                <a:cubicBezTo>
                  <a:pt x="4962717" y="3912"/>
                  <a:pt x="4989606" y="0"/>
                  <a:pt x="4997428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an image and click reset in Home tab to fill the image in the shape</a:t>
            </a:r>
            <a:br>
              <a:rPr lang="en-GB"/>
            </a:br>
            <a:r>
              <a:rPr lang="en-GB"/>
              <a:t>If no image is inserted, this will stay as 50% transparent white shape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3ECE1A18-33D8-41AB-85CB-0266D44674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768" y="3599135"/>
            <a:ext cx="5552920" cy="984885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1200"/>
              </a:spcAft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ubtitle goes here</a:t>
            </a:r>
          </a:p>
          <a:p>
            <a:pPr lvl="1"/>
            <a:r>
              <a:rPr lang="en-US"/>
              <a:t>Presenter Name</a:t>
            </a:r>
            <a:br>
              <a:rPr lang="en-US"/>
            </a:br>
            <a:endParaRPr lang="en-US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590ACE62-C053-8643-AE85-0512241F33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704" y="5796874"/>
            <a:ext cx="780446" cy="84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7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4.07407E-6 L -0.03659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6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1.48148E-6 L 0.02865 1.48148E-6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37" grpId="0" animBg="1"/>
      <p:bldP spid="37" grpId="1" animBg="1"/>
      <p:bldP spid="8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646A5C8-9FAD-4A32-B2BD-9D5DD5101B50}"/>
              </a:ext>
            </a:extLst>
          </p:cNvPr>
          <p:cNvSpPr/>
          <p:nvPr userDrawn="1"/>
        </p:nvSpPr>
        <p:spPr>
          <a:xfrm>
            <a:off x="7919999" y="0"/>
            <a:ext cx="265187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1"/>
              </a:solidFill>
              <a:latin typeface="Public Sans SemiBold" pitchFamily="2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7081598-8EF9-4067-828C-DA3306F3936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40000" y="0"/>
            <a:ext cx="288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7A2D9F-61E4-43DD-AEE4-7DB03212C80F}"/>
              </a:ext>
            </a:extLst>
          </p:cNvPr>
          <p:cNvSpPr/>
          <p:nvPr userDrawn="1"/>
        </p:nvSpPr>
        <p:spPr>
          <a:xfrm>
            <a:off x="0" y="0"/>
            <a:ext cx="5040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1"/>
              </a:solidFill>
              <a:latin typeface="Public Sans SemiBold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1" y="1118380"/>
            <a:ext cx="4500000" cy="2679008"/>
          </a:xfrm>
          <a:ln>
            <a:noFill/>
          </a:ln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33BD13-5953-47AF-A601-951A768FED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1" y="3960000"/>
            <a:ext cx="4500000" cy="1176813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280053-307C-4D8A-BF45-7B6743FA55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00000" y="3924000"/>
            <a:ext cx="2338228" cy="10629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Public Sans SemiBold" pitchFamily="2" charset="0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B9A9D47-05D2-409D-A941-8374F9F8E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120001"/>
            <a:ext cx="2700000" cy="280136"/>
          </a:xfrm>
        </p:spPr>
        <p:txBody>
          <a:bodyPr anchor="t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 marL="0" indent="0">
              <a:buNone/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 Month YY20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E3775B0C-7FFD-4E7F-AC26-D5F1E787B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359999"/>
            <a:ext cx="4500000" cy="51219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bg1"/>
                </a:solidFill>
                <a:latin typeface="Public Sans SemiBold" pitchFamily="2" charset="0"/>
              </a:defRPr>
            </a:lvl1pPr>
          </a:lstStyle>
          <a:p>
            <a:r>
              <a:rPr lang="en-US"/>
              <a:t>Descriptor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581323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3)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D1DA5-55F2-40D3-B419-631F81A7B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68" y="2189852"/>
            <a:ext cx="5552921" cy="1181862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goes here</a:t>
            </a:r>
            <a:endParaRPr lang="en-GB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FB92D7A7-9D03-4CDA-8900-92AFCEA1272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94572" y="1625597"/>
            <a:ext cx="4997428" cy="5232401"/>
          </a:xfrm>
          <a:custGeom>
            <a:avLst/>
            <a:gdLst>
              <a:gd name="connsiteX0" fmla="*/ 1715698 w 4997428"/>
              <a:gd name="connsiteY0" fmla="*/ 3352613 h 5232401"/>
              <a:gd name="connsiteX1" fmla="*/ 2156976 w 4997428"/>
              <a:gd name="connsiteY1" fmla="*/ 4593909 h 5232401"/>
              <a:gd name="connsiteX2" fmla="*/ 2531849 w 4997428"/>
              <a:gd name="connsiteY2" fmla="*/ 5098469 h 5232401"/>
              <a:gd name="connsiteX3" fmla="*/ 2675549 w 4997428"/>
              <a:gd name="connsiteY3" fmla="*/ 5232401 h 5232401"/>
              <a:gd name="connsiteX4" fmla="*/ 1556208 w 4997428"/>
              <a:gd name="connsiteY4" fmla="*/ 5232401 h 5232401"/>
              <a:gd name="connsiteX5" fmla="*/ 1356550 w 4997428"/>
              <a:gd name="connsiteY5" fmla="*/ 5183062 h 5232401"/>
              <a:gd name="connsiteX6" fmla="*/ 33267 w 4997428"/>
              <a:gd name="connsiteY6" fmla="*/ 4501998 h 5232401"/>
              <a:gd name="connsiteX7" fmla="*/ 32778 w 4997428"/>
              <a:gd name="connsiteY7" fmla="*/ 4501509 h 5232401"/>
              <a:gd name="connsiteX8" fmla="*/ 0 w 4997428"/>
              <a:gd name="connsiteY8" fmla="*/ 4392486 h 5232401"/>
              <a:gd name="connsiteX9" fmla="*/ 77786 w 4997428"/>
              <a:gd name="connsiteY9" fmla="*/ 4231641 h 5232401"/>
              <a:gd name="connsiteX10" fmla="*/ 150191 w 4997428"/>
              <a:gd name="connsiteY10" fmla="*/ 4183240 h 5232401"/>
              <a:gd name="connsiteX11" fmla="*/ 150680 w 4997428"/>
              <a:gd name="connsiteY11" fmla="*/ 4182752 h 5232401"/>
              <a:gd name="connsiteX12" fmla="*/ 151170 w 4997428"/>
              <a:gd name="connsiteY12" fmla="*/ 4182263 h 5232401"/>
              <a:gd name="connsiteX13" fmla="*/ 300382 w 4997428"/>
              <a:gd name="connsiteY13" fmla="*/ 4080573 h 5232401"/>
              <a:gd name="connsiteX14" fmla="*/ 353707 w 4997428"/>
              <a:gd name="connsiteY14" fmla="*/ 4045862 h 5232401"/>
              <a:gd name="connsiteX15" fmla="*/ 1076776 w 4997428"/>
              <a:gd name="connsiteY15" fmla="*/ 3635682 h 5232401"/>
              <a:gd name="connsiteX16" fmla="*/ 1715698 w 4997428"/>
              <a:gd name="connsiteY16" fmla="*/ 3352613 h 5232401"/>
              <a:gd name="connsiteX17" fmla="*/ 863321 w 4997428"/>
              <a:gd name="connsiteY17" fmla="*/ 2153521 h 5232401"/>
              <a:gd name="connsiteX18" fmla="*/ 947042 w 4997428"/>
              <a:gd name="connsiteY18" fmla="*/ 2154010 h 5232401"/>
              <a:gd name="connsiteX19" fmla="*/ 1593308 w 4997428"/>
              <a:gd name="connsiteY19" fmla="*/ 2189739 h 5232401"/>
              <a:gd name="connsiteX20" fmla="*/ 1677518 w 4997428"/>
              <a:gd name="connsiteY20" fmla="*/ 3136317 h 5232401"/>
              <a:gd name="connsiteX21" fmla="*/ 974949 w 4997428"/>
              <a:gd name="connsiteY21" fmla="*/ 3444665 h 5232401"/>
              <a:gd name="connsiteX22" fmla="*/ 428560 w 4997428"/>
              <a:gd name="connsiteY22" fmla="*/ 2363980 h 5232401"/>
              <a:gd name="connsiteX23" fmla="*/ 460384 w 4997428"/>
              <a:gd name="connsiteY23" fmla="*/ 2250430 h 5232401"/>
              <a:gd name="connsiteX24" fmla="*/ 616075 w 4997428"/>
              <a:gd name="connsiteY24" fmla="*/ 2157926 h 5232401"/>
              <a:gd name="connsiteX25" fmla="*/ 863321 w 4997428"/>
              <a:gd name="connsiteY25" fmla="*/ 2153521 h 5232401"/>
              <a:gd name="connsiteX26" fmla="*/ 3345492 w 4997428"/>
              <a:gd name="connsiteY26" fmla="*/ 1662983 h 5232401"/>
              <a:gd name="connsiteX27" fmla="*/ 3391977 w 4997428"/>
              <a:gd name="connsiteY27" fmla="*/ 1682541 h 5232401"/>
              <a:gd name="connsiteX28" fmla="*/ 3439930 w 4997428"/>
              <a:gd name="connsiteY28" fmla="*/ 1722147 h 5232401"/>
              <a:gd name="connsiteX29" fmla="*/ 3577428 w 4997428"/>
              <a:gd name="connsiteY29" fmla="*/ 1839987 h 5232401"/>
              <a:gd name="connsiteX30" fmla="*/ 4022218 w 4997428"/>
              <a:gd name="connsiteY30" fmla="*/ 2282497 h 5232401"/>
              <a:gd name="connsiteX31" fmla="*/ 4935285 w 4997428"/>
              <a:gd name="connsiteY31" fmla="*/ 3795833 h 5232401"/>
              <a:gd name="connsiteX32" fmla="*/ 4997428 w 4997428"/>
              <a:gd name="connsiteY32" fmla="*/ 4005598 h 5232401"/>
              <a:gd name="connsiteX33" fmla="*/ 4997428 w 4997428"/>
              <a:gd name="connsiteY33" fmla="*/ 4007994 h 5232401"/>
              <a:gd name="connsiteX34" fmla="*/ 4997428 w 4997428"/>
              <a:gd name="connsiteY34" fmla="*/ 4024767 h 5232401"/>
              <a:gd name="connsiteX35" fmla="*/ 4997428 w 4997428"/>
              <a:gd name="connsiteY35" fmla="*/ 4043037 h 5232401"/>
              <a:gd name="connsiteX36" fmla="*/ 4997428 w 4997428"/>
              <a:gd name="connsiteY36" fmla="*/ 4070293 h 5232401"/>
              <a:gd name="connsiteX37" fmla="*/ 4997428 w 4997428"/>
              <a:gd name="connsiteY37" fmla="*/ 4108331 h 5232401"/>
              <a:gd name="connsiteX38" fmla="*/ 4997428 w 4997428"/>
              <a:gd name="connsiteY38" fmla="*/ 4158949 h 5232401"/>
              <a:gd name="connsiteX39" fmla="*/ 4997428 w 4997428"/>
              <a:gd name="connsiteY39" fmla="*/ 4223943 h 5232401"/>
              <a:gd name="connsiteX40" fmla="*/ 4997428 w 4997428"/>
              <a:gd name="connsiteY40" fmla="*/ 4305111 h 5232401"/>
              <a:gd name="connsiteX41" fmla="*/ 4997428 w 4997428"/>
              <a:gd name="connsiteY41" fmla="*/ 4404250 h 5232401"/>
              <a:gd name="connsiteX42" fmla="*/ 4997428 w 4997428"/>
              <a:gd name="connsiteY42" fmla="*/ 4523156 h 5232401"/>
              <a:gd name="connsiteX43" fmla="*/ 4997428 w 4997428"/>
              <a:gd name="connsiteY43" fmla="*/ 4663628 h 5232401"/>
              <a:gd name="connsiteX44" fmla="*/ 4997428 w 4997428"/>
              <a:gd name="connsiteY44" fmla="*/ 4827461 h 5232401"/>
              <a:gd name="connsiteX45" fmla="*/ 4997428 w 4997428"/>
              <a:gd name="connsiteY45" fmla="*/ 5016454 h 5232401"/>
              <a:gd name="connsiteX46" fmla="*/ 4997428 w 4997428"/>
              <a:gd name="connsiteY46" fmla="*/ 5232401 h 5232401"/>
              <a:gd name="connsiteX47" fmla="*/ 3778537 w 4997428"/>
              <a:gd name="connsiteY47" fmla="*/ 5232401 h 5232401"/>
              <a:gd name="connsiteX48" fmla="*/ 3635107 w 4997428"/>
              <a:gd name="connsiteY48" fmla="*/ 5096624 h 5232401"/>
              <a:gd name="connsiteX49" fmla="*/ 3309772 w 4997428"/>
              <a:gd name="connsiteY49" fmla="*/ 4529764 h 5232401"/>
              <a:gd name="connsiteX50" fmla="*/ 3134596 w 4997428"/>
              <a:gd name="connsiteY50" fmla="*/ 3215925 h 5232401"/>
              <a:gd name="connsiteX51" fmla="*/ 3263287 w 4997428"/>
              <a:gd name="connsiteY51" fmla="*/ 1857590 h 5232401"/>
              <a:gd name="connsiteX52" fmla="*/ 3286774 w 4997428"/>
              <a:gd name="connsiteY52" fmla="*/ 1742195 h 5232401"/>
              <a:gd name="connsiteX53" fmla="*/ 3345492 w 4997428"/>
              <a:gd name="connsiteY53" fmla="*/ 1662983 h 5232401"/>
              <a:gd name="connsiteX54" fmla="*/ 1985716 w 4997428"/>
              <a:gd name="connsiteY54" fmla="*/ 829675 h 5232401"/>
              <a:gd name="connsiteX55" fmla="*/ 2042469 w 4997428"/>
              <a:gd name="connsiteY55" fmla="*/ 842388 h 5232401"/>
              <a:gd name="connsiteX56" fmla="*/ 2043448 w 4997428"/>
              <a:gd name="connsiteY56" fmla="*/ 842877 h 5232401"/>
              <a:gd name="connsiteX57" fmla="*/ 2043937 w 4997428"/>
              <a:gd name="connsiteY57" fmla="*/ 842877 h 5232401"/>
              <a:gd name="connsiteX58" fmla="*/ 2127599 w 4997428"/>
              <a:gd name="connsiteY58" fmla="*/ 878572 h 5232401"/>
              <a:gd name="connsiteX59" fmla="*/ 2337487 w 4997428"/>
              <a:gd name="connsiteY59" fmla="*/ 973433 h 5232401"/>
              <a:gd name="connsiteX60" fmla="*/ 2367820 w 4997428"/>
              <a:gd name="connsiteY60" fmla="*/ 987614 h 5232401"/>
              <a:gd name="connsiteX61" fmla="*/ 3151109 w 4997428"/>
              <a:gd name="connsiteY61" fmla="*/ 1421823 h 5232401"/>
              <a:gd name="connsiteX62" fmla="*/ 3235749 w 4997428"/>
              <a:gd name="connsiteY62" fmla="*/ 1474632 h 5232401"/>
              <a:gd name="connsiteX63" fmla="*/ 3077722 w 4997428"/>
              <a:gd name="connsiteY63" fmla="*/ 1695160 h 5232401"/>
              <a:gd name="connsiteX64" fmla="*/ 3075765 w 4997428"/>
              <a:gd name="connsiteY64" fmla="*/ 1705428 h 5232401"/>
              <a:gd name="connsiteX65" fmla="*/ 2920183 w 4997428"/>
              <a:gd name="connsiteY65" fmla="*/ 3215871 h 5232401"/>
              <a:gd name="connsiteX66" fmla="*/ 3104141 w 4997428"/>
              <a:gd name="connsiteY66" fmla="*/ 4592334 h 5232401"/>
              <a:gd name="connsiteX67" fmla="*/ 3365309 w 4997428"/>
              <a:gd name="connsiteY67" fmla="*/ 5105368 h 5232401"/>
              <a:gd name="connsiteX68" fmla="*/ 3470099 w 4997428"/>
              <a:gd name="connsiteY68" fmla="*/ 5232401 h 5232401"/>
              <a:gd name="connsiteX69" fmla="*/ 3038090 w 4997428"/>
              <a:gd name="connsiteY69" fmla="*/ 5232401 h 5232401"/>
              <a:gd name="connsiteX70" fmla="*/ 2939508 w 4997428"/>
              <a:gd name="connsiteY70" fmla="*/ 5168333 h 5232401"/>
              <a:gd name="connsiteX71" fmla="*/ 2341890 w 4997428"/>
              <a:gd name="connsiteY71" fmla="*/ 4487205 h 5232401"/>
              <a:gd name="connsiteX72" fmla="*/ 1804694 w 4997428"/>
              <a:gd name="connsiteY72" fmla="*/ 1983166 h 5232401"/>
              <a:gd name="connsiteX73" fmla="*/ 1838941 w 4997428"/>
              <a:gd name="connsiteY73" fmla="*/ 1229656 h 5232401"/>
              <a:gd name="connsiteX74" fmla="*/ 1870743 w 4997428"/>
              <a:gd name="connsiteY74" fmla="*/ 939205 h 5232401"/>
              <a:gd name="connsiteX75" fmla="*/ 1985716 w 4997428"/>
              <a:gd name="connsiteY75" fmla="*/ 829675 h 5232401"/>
              <a:gd name="connsiteX76" fmla="*/ 3454840 w 4997428"/>
              <a:gd name="connsiteY76" fmla="*/ 225284 h 5232401"/>
              <a:gd name="connsiteX77" fmla="*/ 3475877 w 4997428"/>
              <a:gd name="connsiteY77" fmla="*/ 226752 h 5232401"/>
              <a:gd name="connsiteX78" fmla="*/ 3476366 w 4997428"/>
              <a:gd name="connsiteY78" fmla="*/ 227241 h 5232401"/>
              <a:gd name="connsiteX79" fmla="*/ 3477345 w 4997428"/>
              <a:gd name="connsiteY79" fmla="*/ 227241 h 5232401"/>
              <a:gd name="connsiteX80" fmla="*/ 3527736 w 4997428"/>
              <a:gd name="connsiteY80" fmla="*/ 247791 h 5232401"/>
              <a:gd name="connsiteX81" fmla="*/ 3528226 w 4997428"/>
              <a:gd name="connsiteY81" fmla="*/ 248280 h 5232401"/>
              <a:gd name="connsiteX82" fmla="*/ 3529204 w 4997428"/>
              <a:gd name="connsiteY82" fmla="*/ 248769 h 5232401"/>
              <a:gd name="connsiteX83" fmla="*/ 3826172 w 4997428"/>
              <a:gd name="connsiteY83" fmla="*/ 449371 h 5232401"/>
              <a:gd name="connsiteX84" fmla="*/ 4276762 w 4997428"/>
              <a:gd name="connsiteY84" fmla="*/ 798712 h 5232401"/>
              <a:gd name="connsiteX85" fmla="*/ 3902494 w 4997428"/>
              <a:gd name="connsiteY85" fmla="*/ 1684785 h 5232401"/>
              <a:gd name="connsiteX86" fmla="*/ 3130963 w 4997428"/>
              <a:gd name="connsiteY86" fmla="*/ 1155881 h 5232401"/>
              <a:gd name="connsiteX87" fmla="*/ 3342314 w 4997428"/>
              <a:gd name="connsiteY87" fmla="*/ 323139 h 5232401"/>
              <a:gd name="connsiteX88" fmla="*/ 3345250 w 4997428"/>
              <a:gd name="connsiteY88" fmla="*/ 314332 h 5232401"/>
              <a:gd name="connsiteX89" fmla="*/ 3454840 w 4997428"/>
              <a:gd name="connsiteY89" fmla="*/ 225284 h 5232401"/>
              <a:gd name="connsiteX90" fmla="*/ 4997428 w 4997428"/>
              <a:gd name="connsiteY90" fmla="*/ 0 h 5232401"/>
              <a:gd name="connsiteX91" fmla="*/ 4996450 w 4997428"/>
              <a:gd name="connsiteY91" fmla="*/ 3311432 h 5232401"/>
              <a:gd name="connsiteX92" fmla="*/ 4030887 w 4997428"/>
              <a:gd name="connsiteY92" fmla="*/ 1977273 h 5232401"/>
              <a:gd name="connsiteX93" fmla="*/ 4879116 w 4997428"/>
              <a:gd name="connsiteY93" fmla="*/ 134003 h 5232401"/>
              <a:gd name="connsiteX94" fmla="*/ 4930450 w 4997428"/>
              <a:gd name="connsiteY94" fmla="*/ 52819 h 5232401"/>
              <a:gd name="connsiteX95" fmla="*/ 4997428 w 4997428"/>
              <a:gd name="connsiteY95" fmla="*/ 0 h 523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4997428" h="5232401">
                <a:moveTo>
                  <a:pt x="1715698" y="3352613"/>
                </a:moveTo>
                <a:cubicBezTo>
                  <a:pt x="1810607" y="3830261"/>
                  <a:pt x="1959330" y="4247774"/>
                  <a:pt x="2156976" y="4593909"/>
                </a:cubicBezTo>
                <a:cubicBezTo>
                  <a:pt x="2267417" y="4787877"/>
                  <a:pt x="2392719" y="4955995"/>
                  <a:pt x="2531849" y="5098469"/>
                </a:cubicBezTo>
                <a:lnTo>
                  <a:pt x="2675549" y="5232401"/>
                </a:lnTo>
                <a:lnTo>
                  <a:pt x="1556208" y="5232401"/>
                </a:lnTo>
                <a:lnTo>
                  <a:pt x="1356550" y="5183062"/>
                </a:lnTo>
                <a:cubicBezTo>
                  <a:pt x="400986" y="4928164"/>
                  <a:pt x="78673" y="4559748"/>
                  <a:pt x="33267" y="4501998"/>
                </a:cubicBezTo>
                <a:cubicBezTo>
                  <a:pt x="33267" y="4501998"/>
                  <a:pt x="33267" y="4501998"/>
                  <a:pt x="32778" y="4501509"/>
                </a:cubicBezTo>
                <a:cubicBezTo>
                  <a:pt x="10763" y="4468264"/>
                  <a:pt x="0" y="4431597"/>
                  <a:pt x="0" y="4392486"/>
                </a:cubicBezTo>
                <a:cubicBezTo>
                  <a:pt x="0" y="4328930"/>
                  <a:pt x="29843" y="4267330"/>
                  <a:pt x="77786" y="4231641"/>
                </a:cubicBezTo>
                <a:cubicBezTo>
                  <a:pt x="77786" y="4231641"/>
                  <a:pt x="103715" y="4214529"/>
                  <a:pt x="150191" y="4183240"/>
                </a:cubicBezTo>
                <a:cubicBezTo>
                  <a:pt x="150191" y="4183240"/>
                  <a:pt x="150191" y="4183240"/>
                  <a:pt x="150680" y="4182752"/>
                </a:cubicBezTo>
                <a:cubicBezTo>
                  <a:pt x="150680" y="4182752"/>
                  <a:pt x="150680" y="4182752"/>
                  <a:pt x="151170" y="4182263"/>
                </a:cubicBezTo>
                <a:cubicBezTo>
                  <a:pt x="186393" y="4155862"/>
                  <a:pt x="236783" y="4122618"/>
                  <a:pt x="300382" y="4080573"/>
                </a:cubicBezTo>
                <a:cubicBezTo>
                  <a:pt x="317505" y="4069818"/>
                  <a:pt x="335117" y="4058084"/>
                  <a:pt x="353707" y="4045862"/>
                </a:cubicBezTo>
                <a:cubicBezTo>
                  <a:pt x="511725" y="3944661"/>
                  <a:pt x="765631" y="3791149"/>
                  <a:pt x="1076776" y="3635682"/>
                </a:cubicBezTo>
                <a:cubicBezTo>
                  <a:pt x="1292033" y="3527148"/>
                  <a:pt x="1506801" y="3431814"/>
                  <a:pt x="1715698" y="3352613"/>
                </a:cubicBezTo>
                <a:close/>
                <a:moveTo>
                  <a:pt x="863321" y="2153521"/>
                </a:moveTo>
                <a:cubicBezTo>
                  <a:pt x="889759" y="2153521"/>
                  <a:pt x="917666" y="2153521"/>
                  <a:pt x="947042" y="2154010"/>
                </a:cubicBezTo>
                <a:cubicBezTo>
                  <a:pt x="1086087" y="2155479"/>
                  <a:pt x="1309832" y="2163310"/>
                  <a:pt x="1593308" y="2189739"/>
                </a:cubicBezTo>
                <a:cubicBezTo>
                  <a:pt x="1601141" y="2514728"/>
                  <a:pt x="1629538" y="2832864"/>
                  <a:pt x="1677518" y="3136317"/>
                </a:cubicBezTo>
                <a:cubicBezTo>
                  <a:pt x="1448877" y="3222948"/>
                  <a:pt x="1212892" y="3326710"/>
                  <a:pt x="974949" y="3444665"/>
                </a:cubicBezTo>
                <a:cubicBezTo>
                  <a:pt x="510323" y="2858805"/>
                  <a:pt x="439332" y="2469699"/>
                  <a:pt x="428560" y="2363980"/>
                </a:cubicBezTo>
                <a:cubicBezTo>
                  <a:pt x="425133" y="2327762"/>
                  <a:pt x="445207" y="2272455"/>
                  <a:pt x="460384" y="2250430"/>
                </a:cubicBezTo>
                <a:cubicBezTo>
                  <a:pt x="498083" y="2195123"/>
                  <a:pt x="554386" y="2161841"/>
                  <a:pt x="616075" y="2157926"/>
                </a:cubicBezTo>
                <a:cubicBezTo>
                  <a:pt x="616565" y="2157926"/>
                  <a:pt x="708609" y="2153521"/>
                  <a:pt x="863321" y="2153521"/>
                </a:cubicBezTo>
                <a:close/>
                <a:moveTo>
                  <a:pt x="3345492" y="1662983"/>
                </a:moveTo>
                <a:cubicBezTo>
                  <a:pt x="3359682" y="1662983"/>
                  <a:pt x="3374851" y="1669339"/>
                  <a:pt x="3391977" y="1682541"/>
                </a:cubicBezTo>
                <a:cubicBezTo>
                  <a:pt x="3392466" y="1683030"/>
                  <a:pt x="3409103" y="1695254"/>
                  <a:pt x="3439930" y="1722147"/>
                </a:cubicBezTo>
                <a:cubicBezTo>
                  <a:pt x="3471246" y="1747084"/>
                  <a:pt x="3515774" y="1785712"/>
                  <a:pt x="3577428" y="1839987"/>
                </a:cubicBezTo>
                <a:cubicBezTo>
                  <a:pt x="3659634" y="1913331"/>
                  <a:pt x="3826980" y="2067843"/>
                  <a:pt x="4022218" y="2282497"/>
                </a:cubicBezTo>
                <a:cubicBezTo>
                  <a:pt x="4330978" y="2626237"/>
                  <a:pt x="4740536" y="3168006"/>
                  <a:pt x="4935285" y="3795833"/>
                </a:cubicBezTo>
                <a:cubicBezTo>
                  <a:pt x="4960240" y="3876512"/>
                  <a:pt x="4978345" y="3929320"/>
                  <a:pt x="4997428" y="4005598"/>
                </a:cubicBezTo>
                <a:lnTo>
                  <a:pt x="4997428" y="4007994"/>
                </a:lnTo>
                <a:lnTo>
                  <a:pt x="4997428" y="4024767"/>
                </a:lnTo>
                <a:lnTo>
                  <a:pt x="4997428" y="4043037"/>
                </a:lnTo>
                <a:lnTo>
                  <a:pt x="4997428" y="4070293"/>
                </a:lnTo>
                <a:lnTo>
                  <a:pt x="4997428" y="4108331"/>
                </a:lnTo>
                <a:lnTo>
                  <a:pt x="4997428" y="4158949"/>
                </a:lnTo>
                <a:lnTo>
                  <a:pt x="4997428" y="4223943"/>
                </a:lnTo>
                <a:lnTo>
                  <a:pt x="4997428" y="4305111"/>
                </a:lnTo>
                <a:lnTo>
                  <a:pt x="4997428" y="4404250"/>
                </a:lnTo>
                <a:lnTo>
                  <a:pt x="4997428" y="4523156"/>
                </a:lnTo>
                <a:lnTo>
                  <a:pt x="4997428" y="4663628"/>
                </a:lnTo>
                <a:lnTo>
                  <a:pt x="4997428" y="4827461"/>
                </a:lnTo>
                <a:lnTo>
                  <a:pt x="4997428" y="5016454"/>
                </a:lnTo>
                <a:lnTo>
                  <a:pt x="4997428" y="5232401"/>
                </a:lnTo>
                <a:lnTo>
                  <a:pt x="3778537" y="5232401"/>
                </a:lnTo>
                <a:lnTo>
                  <a:pt x="3635107" y="5096624"/>
                </a:lnTo>
                <a:cubicBezTo>
                  <a:pt x="3497761" y="4947827"/>
                  <a:pt x="3381335" y="4759698"/>
                  <a:pt x="3309772" y="4529764"/>
                </a:cubicBezTo>
                <a:cubicBezTo>
                  <a:pt x="3193803" y="4155220"/>
                  <a:pt x="3134596" y="3713199"/>
                  <a:pt x="3134596" y="3215925"/>
                </a:cubicBezTo>
                <a:cubicBezTo>
                  <a:pt x="3134596" y="2598366"/>
                  <a:pt x="3224630" y="2060509"/>
                  <a:pt x="3263287" y="1857590"/>
                </a:cubicBezTo>
                <a:cubicBezTo>
                  <a:pt x="3277966" y="1783267"/>
                  <a:pt x="3286774" y="1742195"/>
                  <a:pt x="3286774" y="1742195"/>
                </a:cubicBezTo>
                <a:cubicBezTo>
                  <a:pt x="3296071" y="1706989"/>
                  <a:pt x="3313686" y="1662983"/>
                  <a:pt x="3345492" y="1662983"/>
                </a:cubicBezTo>
                <a:close/>
                <a:moveTo>
                  <a:pt x="1985716" y="829675"/>
                </a:moveTo>
                <a:cubicBezTo>
                  <a:pt x="1997948" y="829675"/>
                  <a:pt x="2017518" y="832120"/>
                  <a:pt x="2042469" y="842388"/>
                </a:cubicBezTo>
                <a:cubicBezTo>
                  <a:pt x="2042469" y="842388"/>
                  <a:pt x="2042469" y="842388"/>
                  <a:pt x="2043448" y="842877"/>
                </a:cubicBezTo>
                <a:cubicBezTo>
                  <a:pt x="2043448" y="842877"/>
                  <a:pt x="2043448" y="842877"/>
                  <a:pt x="2043937" y="842877"/>
                </a:cubicBezTo>
                <a:cubicBezTo>
                  <a:pt x="2044426" y="842877"/>
                  <a:pt x="2073781" y="853635"/>
                  <a:pt x="2127599" y="878572"/>
                </a:cubicBezTo>
                <a:cubicBezTo>
                  <a:pt x="2179949" y="899598"/>
                  <a:pt x="2249422" y="932360"/>
                  <a:pt x="2337487" y="973433"/>
                </a:cubicBezTo>
                <a:cubicBezTo>
                  <a:pt x="2337487" y="973433"/>
                  <a:pt x="2337487" y="973433"/>
                  <a:pt x="2367820" y="987614"/>
                </a:cubicBezTo>
                <a:cubicBezTo>
                  <a:pt x="2638376" y="1118659"/>
                  <a:pt x="2902081" y="1264862"/>
                  <a:pt x="3151109" y="1421823"/>
                </a:cubicBezTo>
                <a:cubicBezTo>
                  <a:pt x="3179486" y="1437959"/>
                  <a:pt x="3207862" y="1456051"/>
                  <a:pt x="3235749" y="1474632"/>
                </a:cubicBezTo>
                <a:cubicBezTo>
                  <a:pt x="3158937" y="1513261"/>
                  <a:pt x="3099738" y="1594431"/>
                  <a:pt x="3077722" y="1695160"/>
                </a:cubicBezTo>
                <a:cubicBezTo>
                  <a:pt x="3077232" y="1698094"/>
                  <a:pt x="3076743" y="1701028"/>
                  <a:pt x="3075765" y="1705428"/>
                </a:cubicBezTo>
                <a:cubicBezTo>
                  <a:pt x="3039560" y="1877547"/>
                  <a:pt x="2920183" y="2495122"/>
                  <a:pt x="2920183" y="3215871"/>
                </a:cubicBezTo>
                <a:cubicBezTo>
                  <a:pt x="2920183" y="3734673"/>
                  <a:pt x="2982318" y="4197732"/>
                  <a:pt x="3104141" y="4592334"/>
                </a:cubicBezTo>
                <a:cubicBezTo>
                  <a:pt x="3169456" y="4799171"/>
                  <a:pt x="3262842" y="4968050"/>
                  <a:pt x="3365309" y="5105368"/>
                </a:cubicBezTo>
                <a:lnTo>
                  <a:pt x="3470099" y="5232401"/>
                </a:lnTo>
                <a:lnTo>
                  <a:pt x="3038090" y="5232401"/>
                </a:lnTo>
                <a:lnTo>
                  <a:pt x="2939508" y="5168333"/>
                </a:lnTo>
                <a:cubicBezTo>
                  <a:pt x="2712833" y="5008865"/>
                  <a:pt x="2510131" y="4779856"/>
                  <a:pt x="2341890" y="4487205"/>
                </a:cubicBezTo>
                <a:cubicBezTo>
                  <a:pt x="1897651" y="3710224"/>
                  <a:pt x="1804694" y="2696580"/>
                  <a:pt x="1804694" y="1983166"/>
                </a:cubicBezTo>
                <a:cubicBezTo>
                  <a:pt x="1804694" y="1730366"/>
                  <a:pt x="1815947" y="1477077"/>
                  <a:pt x="1838941" y="1229656"/>
                </a:cubicBezTo>
                <a:cubicBezTo>
                  <a:pt x="1855576" y="1048246"/>
                  <a:pt x="1870743" y="940183"/>
                  <a:pt x="1870743" y="939205"/>
                </a:cubicBezTo>
                <a:cubicBezTo>
                  <a:pt x="1884442" y="867815"/>
                  <a:pt x="1922114" y="831631"/>
                  <a:pt x="1985716" y="829675"/>
                </a:cubicBezTo>
                <a:close/>
                <a:moveTo>
                  <a:pt x="3454840" y="225284"/>
                </a:moveTo>
                <a:cubicBezTo>
                  <a:pt x="3461689" y="225284"/>
                  <a:pt x="3468538" y="225773"/>
                  <a:pt x="3475877" y="226752"/>
                </a:cubicBezTo>
                <a:cubicBezTo>
                  <a:pt x="3475877" y="226752"/>
                  <a:pt x="3475877" y="226752"/>
                  <a:pt x="3476366" y="227241"/>
                </a:cubicBezTo>
                <a:cubicBezTo>
                  <a:pt x="3476366" y="227241"/>
                  <a:pt x="3476366" y="227241"/>
                  <a:pt x="3477345" y="227241"/>
                </a:cubicBezTo>
                <a:cubicBezTo>
                  <a:pt x="3493490" y="228709"/>
                  <a:pt x="3510613" y="235559"/>
                  <a:pt x="3527736" y="247791"/>
                </a:cubicBezTo>
                <a:cubicBezTo>
                  <a:pt x="3527736" y="247791"/>
                  <a:pt x="3527736" y="247791"/>
                  <a:pt x="3528226" y="248280"/>
                </a:cubicBezTo>
                <a:cubicBezTo>
                  <a:pt x="3528226" y="248280"/>
                  <a:pt x="3528226" y="248280"/>
                  <a:pt x="3529204" y="248769"/>
                </a:cubicBezTo>
                <a:cubicBezTo>
                  <a:pt x="3530182" y="249259"/>
                  <a:pt x="3646621" y="320692"/>
                  <a:pt x="3826172" y="449371"/>
                </a:cubicBezTo>
                <a:cubicBezTo>
                  <a:pt x="3925488" y="520805"/>
                  <a:pt x="4083512" y="638719"/>
                  <a:pt x="4276762" y="798712"/>
                </a:cubicBezTo>
                <a:cubicBezTo>
                  <a:pt x="4136350" y="1090318"/>
                  <a:pt x="4010616" y="1388285"/>
                  <a:pt x="3902494" y="1684785"/>
                </a:cubicBezTo>
                <a:cubicBezTo>
                  <a:pt x="3671573" y="1502775"/>
                  <a:pt x="3418636" y="1329573"/>
                  <a:pt x="3130963" y="1155881"/>
                </a:cubicBezTo>
                <a:cubicBezTo>
                  <a:pt x="3212666" y="743913"/>
                  <a:pt x="3305622" y="437139"/>
                  <a:pt x="3342314" y="323139"/>
                </a:cubicBezTo>
                <a:cubicBezTo>
                  <a:pt x="3343782" y="319224"/>
                  <a:pt x="3344271" y="316778"/>
                  <a:pt x="3345250" y="314332"/>
                </a:cubicBezTo>
                <a:cubicBezTo>
                  <a:pt x="3367755" y="255130"/>
                  <a:pt x="3404448" y="225284"/>
                  <a:pt x="3454840" y="225284"/>
                </a:cubicBezTo>
                <a:close/>
                <a:moveTo>
                  <a:pt x="4997428" y="0"/>
                </a:moveTo>
                <a:cubicBezTo>
                  <a:pt x="4997428" y="0"/>
                  <a:pt x="4997428" y="0"/>
                  <a:pt x="4996450" y="3311432"/>
                </a:cubicBezTo>
                <a:cubicBezTo>
                  <a:pt x="4786715" y="2861007"/>
                  <a:pt x="4449868" y="2413516"/>
                  <a:pt x="4030887" y="1977273"/>
                </a:cubicBezTo>
                <a:cubicBezTo>
                  <a:pt x="4316889" y="1108212"/>
                  <a:pt x="4718759" y="399563"/>
                  <a:pt x="4879116" y="134003"/>
                </a:cubicBezTo>
                <a:cubicBezTo>
                  <a:pt x="4912850" y="80695"/>
                  <a:pt x="4930450" y="52819"/>
                  <a:pt x="4930450" y="52819"/>
                </a:cubicBezTo>
                <a:cubicBezTo>
                  <a:pt x="4962717" y="3912"/>
                  <a:pt x="4989606" y="0"/>
                  <a:pt x="4997428" y="0"/>
                </a:cubicBezTo>
                <a:close/>
              </a:path>
            </a:pathLst>
          </a:custGeom>
          <a:solidFill>
            <a:schemeClr val="tx1">
              <a:alpha val="20000"/>
            </a:schemeClr>
          </a:solidFill>
        </p:spPr>
        <p:txBody>
          <a:bodyPr wrap="square">
            <a:noAutofit/>
          </a:bodyPr>
          <a:lstStyle>
            <a:lvl1pPr algn="ctr"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insert an image and click reset in Home tab to fill the image in the shape</a:t>
            </a:r>
            <a:br>
              <a:rPr lang="en-GB"/>
            </a:br>
            <a:r>
              <a:rPr lang="en-GB"/>
              <a:t>If no image is inserted, this will stay as grey shape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3ECE1A18-33D8-41AB-85CB-0266D44674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768" y="3599135"/>
            <a:ext cx="5552920" cy="874085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1200"/>
              </a:spcAft>
              <a:defRPr b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Subtitle goes here</a:t>
            </a:r>
          </a:p>
          <a:p>
            <a:pPr lvl="1"/>
            <a:r>
              <a:rPr lang="en-US"/>
              <a:t>Presenter Nam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82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4.07407E-6 L -0.03659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6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1.48148E-6 L 0.02865 1.48148E-6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37" grpId="0" animBg="1"/>
      <p:bldP spid="37" grpId="1" animBg="1"/>
      <p:bldP spid="8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6F1C88AA-B917-4B86-B0CA-3F32CD509C84}"/>
              </a:ext>
            </a:extLst>
          </p:cNvPr>
          <p:cNvGrpSpPr/>
          <p:nvPr/>
        </p:nvGrpSpPr>
        <p:grpSpPr>
          <a:xfrm>
            <a:off x="1914293" y="343037"/>
            <a:ext cx="868948" cy="1159664"/>
            <a:chOff x="9299574" y="-2258163"/>
            <a:chExt cx="2892425" cy="3860118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BBD8FBEF-1F46-409C-B97B-078AF8296523}"/>
                </a:ext>
              </a:extLst>
            </p:cNvPr>
            <p:cNvSpPr/>
            <p:nvPr/>
          </p:nvSpPr>
          <p:spPr>
            <a:xfrm>
              <a:off x="9299574" y="-2258163"/>
              <a:ext cx="2892425" cy="289242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13D45ADE-5AA0-4880-8AFA-695D1D7B3E9A}"/>
                </a:ext>
              </a:extLst>
            </p:cNvPr>
            <p:cNvSpPr>
              <a:spLocks/>
            </p:cNvSpPr>
            <p:nvPr/>
          </p:nvSpPr>
          <p:spPr bwMode="auto">
            <a:xfrm rot="17654240">
              <a:off x="10083723" y="-380457"/>
              <a:ext cx="1334192" cy="2630632"/>
            </a:xfrm>
            <a:custGeom>
              <a:avLst/>
              <a:gdLst>
                <a:gd name="T0" fmla="*/ 451 w 505"/>
                <a:gd name="T1" fmla="*/ 0 h 995"/>
                <a:gd name="T2" fmla="*/ 439 w 505"/>
                <a:gd name="T3" fmla="*/ 5 h 995"/>
                <a:gd name="T4" fmla="*/ 427 w 505"/>
                <a:gd name="T5" fmla="*/ 15 h 995"/>
                <a:gd name="T6" fmla="*/ 392 w 505"/>
                <a:gd name="T7" fmla="*/ 46 h 995"/>
                <a:gd name="T8" fmla="*/ 277 w 505"/>
                <a:gd name="T9" fmla="*/ 159 h 995"/>
                <a:gd name="T10" fmla="*/ 43 w 505"/>
                <a:gd name="T11" fmla="*/ 548 h 995"/>
                <a:gd name="T12" fmla="*/ 0 w 505"/>
                <a:gd name="T13" fmla="*/ 790 h 995"/>
                <a:gd name="T14" fmla="*/ 24 w 505"/>
                <a:gd name="T15" fmla="*/ 915 h 995"/>
                <a:gd name="T16" fmla="*/ 95 w 505"/>
                <a:gd name="T17" fmla="*/ 986 h 995"/>
                <a:gd name="T18" fmla="*/ 147 w 505"/>
                <a:gd name="T19" fmla="*/ 995 h 995"/>
                <a:gd name="T20" fmla="*/ 148 w 505"/>
                <a:gd name="T21" fmla="*/ 995 h 995"/>
                <a:gd name="T22" fmla="*/ 460 w 505"/>
                <a:gd name="T23" fmla="*/ 736 h 995"/>
                <a:gd name="T24" fmla="*/ 505 w 505"/>
                <a:gd name="T25" fmla="*/ 399 h 995"/>
                <a:gd name="T26" fmla="*/ 472 w 505"/>
                <a:gd name="T27" fmla="*/ 50 h 995"/>
                <a:gd name="T28" fmla="*/ 466 w 505"/>
                <a:gd name="T29" fmla="*/ 20 h 995"/>
                <a:gd name="T30" fmla="*/ 451 w 505"/>
                <a:gd name="T31" fmla="*/ 0 h 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5" h="995">
                  <a:moveTo>
                    <a:pt x="451" y="0"/>
                  </a:moveTo>
                  <a:cubicBezTo>
                    <a:pt x="447" y="0"/>
                    <a:pt x="443" y="2"/>
                    <a:pt x="439" y="5"/>
                  </a:cubicBezTo>
                  <a:cubicBezTo>
                    <a:pt x="439" y="5"/>
                    <a:pt x="435" y="8"/>
                    <a:pt x="427" y="15"/>
                  </a:cubicBezTo>
                  <a:cubicBezTo>
                    <a:pt x="419" y="22"/>
                    <a:pt x="407" y="32"/>
                    <a:pt x="392" y="46"/>
                  </a:cubicBezTo>
                  <a:cubicBezTo>
                    <a:pt x="370" y="64"/>
                    <a:pt x="327" y="104"/>
                    <a:pt x="277" y="159"/>
                  </a:cubicBezTo>
                  <a:cubicBezTo>
                    <a:pt x="198" y="247"/>
                    <a:pt x="93" y="387"/>
                    <a:pt x="43" y="548"/>
                  </a:cubicBezTo>
                  <a:cubicBezTo>
                    <a:pt x="14" y="642"/>
                    <a:pt x="0" y="723"/>
                    <a:pt x="0" y="790"/>
                  </a:cubicBezTo>
                  <a:cubicBezTo>
                    <a:pt x="0" y="840"/>
                    <a:pt x="8" y="882"/>
                    <a:pt x="24" y="915"/>
                  </a:cubicBezTo>
                  <a:cubicBezTo>
                    <a:pt x="39" y="948"/>
                    <a:pt x="62" y="971"/>
                    <a:pt x="95" y="986"/>
                  </a:cubicBezTo>
                  <a:cubicBezTo>
                    <a:pt x="109" y="992"/>
                    <a:pt x="126" y="995"/>
                    <a:pt x="147" y="995"/>
                  </a:cubicBezTo>
                  <a:cubicBezTo>
                    <a:pt x="148" y="995"/>
                    <a:pt x="148" y="995"/>
                    <a:pt x="148" y="995"/>
                  </a:cubicBezTo>
                  <a:cubicBezTo>
                    <a:pt x="244" y="995"/>
                    <a:pt x="405" y="915"/>
                    <a:pt x="460" y="736"/>
                  </a:cubicBezTo>
                  <a:cubicBezTo>
                    <a:pt x="490" y="640"/>
                    <a:pt x="505" y="526"/>
                    <a:pt x="505" y="399"/>
                  </a:cubicBezTo>
                  <a:cubicBezTo>
                    <a:pt x="505" y="240"/>
                    <a:pt x="482" y="102"/>
                    <a:pt x="472" y="50"/>
                  </a:cubicBezTo>
                  <a:cubicBezTo>
                    <a:pt x="468" y="31"/>
                    <a:pt x="466" y="20"/>
                    <a:pt x="466" y="20"/>
                  </a:cubicBezTo>
                  <a:cubicBezTo>
                    <a:pt x="464" y="11"/>
                    <a:pt x="459" y="0"/>
                    <a:pt x="451" y="0"/>
                  </a:cubicBezTo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53FFBAB-A7AC-49C7-A1DC-F4B7C4DF9CAB}"/>
                </a:ext>
              </a:extLst>
            </p:cNvPr>
            <p:cNvSpPr>
              <a:spLocks/>
            </p:cNvSpPr>
            <p:nvPr/>
          </p:nvSpPr>
          <p:spPr bwMode="auto">
            <a:xfrm rot="1067620">
              <a:off x="10815109" y="-1348313"/>
              <a:ext cx="1209678" cy="2385122"/>
            </a:xfrm>
            <a:custGeom>
              <a:avLst/>
              <a:gdLst>
                <a:gd name="T0" fmla="*/ 451 w 505"/>
                <a:gd name="T1" fmla="*/ 0 h 995"/>
                <a:gd name="T2" fmla="*/ 439 w 505"/>
                <a:gd name="T3" fmla="*/ 5 h 995"/>
                <a:gd name="T4" fmla="*/ 427 w 505"/>
                <a:gd name="T5" fmla="*/ 15 h 995"/>
                <a:gd name="T6" fmla="*/ 392 w 505"/>
                <a:gd name="T7" fmla="*/ 46 h 995"/>
                <a:gd name="T8" fmla="*/ 277 w 505"/>
                <a:gd name="T9" fmla="*/ 159 h 995"/>
                <a:gd name="T10" fmla="*/ 43 w 505"/>
                <a:gd name="T11" fmla="*/ 548 h 995"/>
                <a:gd name="T12" fmla="*/ 0 w 505"/>
                <a:gd name="T13" fmla="*/ 790 h 995"/>
                <a:gd name="T14" fmla="*/ 24 w 505"/>
                <a:gd name="T15" fmla="*/ 915 h 995"/>
                <a:gd name="T16" fmla="*/ 95 w 505"/>
                <a:gd name="T17" fmla="*/ 986 h 995"/>
                <a:gd name="T18" fmla="*/ 147 w 505"/>
                <a:gd name="T19" fmla="*/ 995 h 995"/>
                <a:gd name="T20" fmla="*/ 148 w 505"/>
                <a:gd name="T21" fmla="*/ 995 h 995"/>
                <a:gd name="T22" fmla="*/ 460 w 505"/>
                <a:gd name="T23" fmla="*/ 736 h 995"/>
                <a:gd name="T24" fmla="*/ 505 w 505"/>
                <a:gd name="T25" fmla="*/ 399 h 995"/>
                <a:gd name="T26" fmla="*/ 472 w 505"/>
                <a:gd name="T27" fmla="*/ 50 h 995"/>
                <a:gd name="T28" fmla="*/ 466 w 505"/>
                <a:gd name="T29" fmla="*/ 20 h 995"/>
                <a:gd name="T30" fmla="*/ 451 w 505"/>
                <a:gd name="T31" fmla="*/ 0 h 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5" h="995">
                  <a:moveTo>
                    <a:pt x="451" y="0"/>
                  </a:moveTo>
                  <a:cubicBezTo>
                    <a:pt x="447" y="0"/>
                    <a:pt x="443" y="2"/>
                    <a:pt x="439" y="5"/>
                  </a:cubicBezTo>
                  <a:cubicBezTo>
                    <a:pt x="439" y="5"/>
                    <a:pt x="435" y="8"/>
                    <a:pt x="427" y="15"/>
                  </a:cubicBezTo>
                  <a:cubicBezTo>
                    <a:pt x="419" y="22"/>
                    <a:pt x="407" y="32"/>
                    <a:pt x="392" y="46"/>
                  </a:cubicBezTo>
                  <a:cubicBezTo>
                    <a:pt x="370" y="64"/>
                    <a:pt x="327" y="104"/>
                    <a:pt x="277" y="159"/>
                  </a:cubicBezTo>
                  <a:cubicBezTo>
                    <a:pt x="198" y="247"/>
                    <a:pt x="93" y="387"/>
                    <a:pt x="43" y="548"/>
                  </a:cubicBezTo>
                  <a:cubicBezTo>
                    <a:pt x="14" y="642"/>
                    <a:pt x="0" y="723"/>
                    <a:pt x="0" y="790"/>
                  </a:cubicBezTo>
                  <a:cubicBezTo>
                    <a:pt x="0" y="840"/>
                    <a:pt x="8" y="882"/>
                    <a:pt x="24" y="915"/>
                  </a:cubicBezTo>
                  <a:cubicBezTo>
                    <a:pt x="39" y="948"/>
                    <a:pt x="62" y="971"/>
                    <a:pt x="95" y="986"/>
                  </a:cubicBezTo>
                  <a:cubicBezTo>
                    <a:pt x="109" y="992"/>
                    <a:pt x="126" y="995"/>
                    <a:pt x="147" y="995"/>
                  </a:cubicBezTo>
                  <a:cubicBezTo>
                    <a:pt x="148" y="995"/>
                    <a:pt x="148" y="995"/>
                    <a:pt x="148" y="995"/>
                  </a:cubicBezTo>
                  <a:cubicBezTo>
                    <a:pt x="244" y="995"/>
                    <a:pt x="405" y="915"/>
                    <a:pt x="460" y="736"/>
                  </a:cubicBezTo>
                  <a:cubicBezTo>
                    <a:pt x="490" y="640"/>
                    <a:pt x="505" y="526"/>
                    <a:pt x="505" y="399"/>
                  </a:cubicBezTo>
                  <a:cubicBezTo>
                    <a:pt x="505" y="240"/>
                    <a:pt x="482" y="102"/>
                    <a:pt x="472" y="50"/>
                  </a:cubicBezTo>
                  <a:cubicBezTo>
                    <a:pt x="468" y="31"/>
                    <a:pt x="466" y="20"/>
                    <a:pt x="466" y="20"/>
                  </a:cubicBezTo>
                  <a:cubicBezTo>
                    <a:pt x="464" y="11"/>
                    <a:pt x="459" y="0"/>
                    <a:pt x="451" y="0"/>
                  </a:cubicBezTo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7" name="Group 15">
            <a:extLst>
              <a:ext uri="{FF2B5EF4-FFF2-40B4-BE49-F238E27FC236}">
                <a16:creationId xmlns:a16="http://schemas.microsoft.com/office/drawing/2014/main" id="{2CC6FD60-1271-4F92-9CF7-D908B89A68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0445" y="453056"/>
            <a:ext cx="648910" cy="648910"/>
            <a:chOff x="3023" y="1344"/>
            <a:chExt cx="1634" cy="1634"/>
          </a:xfrm>
        </p:grpSpPr>
        <p:sp>
          <p:nvSpPr>
            <p:cNvPr id="58" name="Freeform 16">
              <a:extLst>
                <a:ext uri="{FF2B5EF4-FFF2-40B4-BE49-F238E27FC236}">
                  <a16:creationId xmlns:a16="http://schemas.microsoft.com/office/drawing/2014/main" id="{A8B9E6A7-3A11-459A-ADAC-A57558A81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1344"/>
              <a:ext cx="1634" cy="1634"/>
            </a:xfrm>
            <a:custGeom>
              <a:avLst/>
              <a:gdLst>
                <a:gd name="T0" fmla="*/ 852 w 862"/>
                <a:gd name="T1" fmla="*/ 338 h 862"/>
                <a:gd name="T2" fmla="*/ 431 w 862"/>
                <a:gd name="T3" fmla="*/ 0 h 862"/>
                <a:gd name="T4" fmla="*/ 0 w 862"/>
                <a:gd name="T5" fmla="*/ 431 h 862"/>
                <a:gd name="T6" fmla="*/ 181 w 862"/>
                <a:gd name="T7" fmla="*/ 782 h 862"/>
                <a:gd name="T8" fmla="*/ 386 w 862"/>
                <a:gd name="T9" fmla="*/ 860 h 862"/>
                <a:gd name="T10" fmla="*/ 431 w 862"/>
                <a:gd name="T11" fmla="*/ 862 h 862"/>
                <a:gd name="T12" fmla="*/ 604 w 862"/>
                <a:gd name="T13" fmla="*/ 826 h 862"/>
                <a:gd name="T14" fmla="*/ 835 w 862"/>
                <a:gd name="T15" fmla="*/ 582 h 862"/>
                <a:gd name="T16" fmla="*/ 858 w 862"/>
                <a:gd name="T17" fmla="*/ 491 h 862"/>
                <a:gd name="T18" fmla="*/ 862 w 862"/>
                <a:gd name="T19" fmla="*/ 431 h 862"/>
                <a:gd name="T20" fmla="*/ 852 w 862"/>
                <a:gd name="T21" fmla="*/ 338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2" h="862">
                  <a:moveTo>
                    <a:pt x="852" y="338"/>
                  </a:moveTo>
                  <a:cubicBezTo>
                    <a:pt x="809" y="145"/>
                    <a:pt x="637" y="0"/>
                    <a:pt x="431" y="0"/>
                  </a:cubicBezTo>
                  <a:cubicBezTo>
                    <a:pt x="193" y="0"/>
                    <a:pt x="0" y="193"/>
                    <a:pt x="0" y="431"/>
                  </a:cubicBezTo>
                  <a:cubicBezTo>
                    <a:pt x="0" y="576"/>
                    <a:pt x="72" y="704"/>
                    <a:pt x="181" y="782"/>
                  </a:cubicBezTo>
                  <a:cubicBezTo>
                    <a:pt x="240" y="824"/>
                    <a:pt x="310" y="852"/>
                    <a:pt x="386" y="860"/>
                  </a:cubicBezTo>
                  <a:cubicBezTo>
                    <a:pt x="401" y="861"/>
                    <a:pt x="416" y="862"/>
                    <a:pt x="431" y="862"/>
                  </a:cubicBezTo>
                  <a:cubicBezTo>
                    <a:pt x="492" y="862"/>
                    <a:pt x="551" y="849"/>
                    <a:pt x="604" y="826"/>
                  </a:cubicBezTo>
                  <a:cubicBezTo>
                    <a:pt x="710" y="779"/>
                    <a:pt x="794" y="691"/>
                    <a:pt x="835" y="582"/>
                  </a:cubicBezTo>
                  <a:cubicBezTo>
                    <a:pt x="846" y="553"/>
                    <a:pt x="853" y="523"/>
                    <a:pt x="858" y="491"/>
                  </a:cubicBezTo>
                  <a:cubicBezTo>
                    <a:pt x="860" y="472"/>
                    <a:pt x="862" y="451"/>
                    <a:pt x="862" y="431"/>
                  </a:cubicBezTo>
                  <a:cubicBezTo>
                    <a:pt x="862" y="399"/>
                    <a:pt x="858" y="368"/>
                    <a:pt x="852" y="33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7">
              <a:extLst>
                <a:ext uri="{FF2B5EF4-FFF2-40B4-BE49-F238E27FC236}">
                  <a16:creationId xmlns:a16="http://schemas.microsoft.com/office/drawing/2014/main" id="{6F9EE9F9-ECA8-4237-A006-609D9C52B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6" y="2561"/>
              <a:ext cx="522" cy="413"/>
            </a:xfrm>
            <a:custGeom>
              <a:avLst/>
              <a:gdLst>
                <a:gd name="T0" fmla="*/ 13 w 275"/>
                <a:gd name="T1" fmla="*/ 0 h 218"/>
                <a:gd name="T2" fmla="*/ 1 w 275"/>
                <a:gd name="T3" fmla="*/ 5 h 218"/>
                <a:gd name="T4" fmla="*/ 1 w 275"/>
                <a:gd name="T5" fmla="*/ 15 h 218"/>
                <a:gd name="T6" fmla="*/ 4 w 275"/>
                <a:gd name="T7" fmla="*/ 27 h 218"/>
                <a:gd name="T8" fmla="*/ 15 w 275"/>
                <a:gd name="T9" fmla="*/ 62 h 218"/>
                <a:gd name="T10" fmla="*/ 42 w 275"/>
                <a:gd name="T11" fmla="*/ 140 h 218"/>
                <a:gd name="T12" fmla="*/ 247 w 275"/>
                <a:gd name="T13" fmla="*/ 218 h 218"/>
                <a:gd name="T14" fmla="*/ 247 w 275"/>
                <a:gd name="T15" fmla="*/ 217 h 218"/>
                <a:gd name="T16" fmla="*/ 246 w 275"/>
                <a:gd name="T17" fmla="*/ 197 h 218"/>
                <a:gd name="T18" fmla="*/ 246 w 275"/>
                <a:gd name="T19" fmla="*/ 197 h 218"/>
                <a:gd name="T20" fmla="*/ 258 w 275"/>
                <a:gd name="T21" fmla="*/ 127 h 218"/>
                <a:gd name="T22" fmla="*/ 275 w 275"/>
                <a:gd name="T23" fmla="*/ 83 h 218"/>
                <a:gd name="T24" fmla="*/ 44 w 275"/>
                <a:gd name="T25" fmla="*/ 6 h 218"/>
                <a:gd name="T26" fmla="*/ 20 w 275"/>
                <a:gd name="T27" fmla="*/ 1 h 218"/>
                <a:gd name="T28" fmla="*/ 13 w 275"/>
                <a:gd name="T29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5" h="218">
                  <a:moveTo>
                    <a:pt x="13" y="0"/>
                  </a:moveTo>
                  <a:cubicBezTo>
                    <a:pt x="8" y="0"/>
                    <a:pt x="3" y="1"/>
                    <a:pt x="1" y="5"/>
                  </a:cubicBezTo>
                  <a:cubicBezTo>
                    <a:pt x="0" y="8"/>
                    <a:pt x="0" y="12"/>
                    <a:pt x="1" y="15"/>
                  </a:cubicBezTo>
                  <a:cubicBezTo>
                    <a:pt x="1" y="15"/>
                    <a:pt x="2" y="19"/>
                    <a:pt x="4" y="27"/>
                  </a:cubicBezTo>
                  <a:cubicBezTo>
                    <a:pt x="7" y="35"/>
                    <a:pt x="10" y="47"/>
                    <a:pt x="15" y="62"/>
                  </a:cubicBezTo>
                  <a:cubicBezTo>
                    <a:pt x="19" y="78"/>
                    <a:pt x="28" y="105"/>
                    <a:pt x="42" y="140"/>
                  </a:cubicBezTo>
                  <a:cubicBezTo>
                    <a:pt x="101" y="182"/>
                    <a:pt x="171" y="210"/>
                    <a:pt x="247" y="218"/>
                  </a:cubicBezTo>
                  <a:cubicBezTo>
                    <a:pt x="247" y="217"/>
                    <a:pt x="247" y="217"/>
                    <a:pt x="247" y="217"/>
                  </a:cubicBezTo>
                  <a:cubicBezTo>
                    <a:pt x="246" y="211"/>
                    <a:pt x="246" y="204"/>
                    <a:pt x="246" y="197"/>
                  </a:cubicBezTo>
                  <a:cubicBezTo>
                    <a:pt x="246" y="197"/>
                    <a:pt x="246" y="197"/>
                    <a:pt x="246" y="197"/>
                  </a:cubicBezTo>
                  <a:cubicBezTo>
                    <a:pt x="246" y="176"/>
                    <a:pt x="250" y="153"/>
                    <a:pt x="258" y="127"/>
                  </a:cubicBezTo>
                  <a:cubicBezTo>
                    <a:pt x="263" y="113"/>
                    <a:pt x="268" y="98"/>
                    <a:pt x="275" y="83"/>
                  </a:cubicBezTo>
                  <a:cubicBezTo>
                    <a:pt x="173" y="39"/>
                    <a:pt x="81" y="15"/>
                    <a:pt x="44" y="6"/>
                  </a:cubicBezTo>
                  <a:cubicBezTo>
                    <a:pt x="29" y="3"/>
                    <a:pt x="20" y="1"/>
                    <a:pt x="20" y="1"/>
                  </a:cubicBezTo>
                  <a:cubicBezTo>
                    <a:pt x="18" y="0"/>
                    <a:pt x="15" y="0"/>
                    <a:pt x="13" y="0"/>
                  </a:cubicBezTo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18">
              <a:extLst>
                <a:ext uri="{FF2B5EF4-FFF2-40B4-BE49-F238E27FC236}">
                  <a16:creationId xmlns:a16="http://schemas.microsoft.com/office/drawing/2014/main" id="{89E8591D-BD97-41BF-945D-D5916359F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8" y="1985"/>
              <a:ext cx="849" cy="925"/>
            </a:xfrm>
            <a:custGeom>
              <a:avLst/>
              <a:gdLst>
                <a:gd name="T0" fmla="*/ 438 w 448"/>
                <a:gd name="T1" fmla="*/ 0 h 488"/>
                <a:gd name="T2" fmla="*/ 411 w 448"/>
                <a:gd name="T3" fmla="*/ 11 h 488"/>
                <a:gd name="T4" fmla="*/ 309 w 448"/>
                <a:gd name="T5" fmla="*/ 63 h 488"/>
                <a:gd name="T6" fmla="*/ 65 w 448"/>
                <a:gd name="T7" fmla="*/ 276 h 488"/>
                <a:gd name="T8" fmla="*/ 0 w 448"/>
                <a:gd name="T9" fmla="*/ 387 h 488"/>
                <a:gd name="T10" fmla="*/ 30 w 448"/>
                <a:gd name="T11" fmla="*/ 399 h 488"/>
                <a:gd name="T12" fmla="*/ 190 w 448"/>
                <a:gd name="T13" fmla="*/ 488 h 488"/>
                <a:gd name="T14" fmla="*/ 190 w 448"/>
                <a:gd name="T15" fmla="*/ 488 h 488"/>
                <a:gd name="T16" fmla="*/ 190 w 448"/>
                <a:gd name="T17" fmla="*/ 488 h 488"/>
                <a:gd name="T18" fmla="*/ 421 w 448"/>
                <a:gd name="T19" fmla="*/ 244 h 488"/>
                <a:gd name="T20" fmla="*/ 444 w 448"/>
                <a:gd name="T21" fmla="*/ 153 h 488"/>
                <a:gd name="T22" fmla="*/ 448 w 448"/>
                <a:gd name="T23" fmla="*/ 93 h 488"/>
                <a:gd name="T24" fmla="*/ 438 w 448"/>
                <a:gd name="T25" fmla="*/ 0 h 488"/>
                <a:gd name="T26" fmla="*/ 438 w 448"/>
                <a:gd name="T27" fmla="*/ 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8" h="488">
                  <a:moveTo>
                    <a:pt x="438" y="0"/>
                  </a:moveTo>
                  <a:cubicBezTo>
                    <a:pt x="431" y="2"/>
                    <a:pt x="422" y="6"/>
                    <a:pt x="411" y="11"/>
                  </a:cubicBezTo>
                  <a:cubicBezTo>
                    <a:pt x="392" y="19"/>
                    <a:pt x="355" y="37"/>
                    <a:pt x="309" y="63"/>
                  </a:cubicBezTo>
                  <a:cubicBezTo>
                    <a:pt x="236" y="106"/>
                    <a:pt x="134" y="178"/>
                    <a:pt x="65" y="276"/>
                  </a:cubicBezTo>
                  <a:cubicBezTo>
                    <a:pt x="37" y="316"/>
                    <a:pt x="16" y="353"/>
                    <a:pt x="0" y="387"/>
                  </a:cubicBezTo>
                  <a:cubicBezTo>
                    <a:pt x="10" y="391"/>
                    <a:pt x="20" y="395"/>
                    <a:pt x="30" y="399"/>
                  </a:cubicBezTo>
                  <a:cubicBezTo>
                    <a:pt x="90" y="426"/>
                    <a:pt x="143" y="456"/>
                    <a:pt x="190" y="488"/>
                  </a:cubicBezTo>
                  <a:cubicBezTo>
                    <a:pt x="190" y="488"/>
                    <a:pt x="190" y="488"/>
                    <a:pt x="190" y="488"/>
                  </a:cubicBezTo>
                  <a:cubicBezTo>
                    <a:pt x="190" y="488"/>
                    <a:pt x="190" y="488"/>
                    <a:pt x="190" y="488"/>
                  </a:cubicBezTo>
                  <a:cubicBezTo>
                    <a:pt x="296" y="441"/>
                    <a:pt x="380" y="353"/>
                    <a:pt x="421" y="244"/>
                  </a:cubicBezTo>
                  <a:cubicBezTo>
                    <a:pt x="430" y="212"/>
                    <a:pt x="438" y="181"/>
                    <a:pt x="444" y="153"/>
                  </a:cubicBezTo>
                  <a:cubicBezTo>
                    <a:pt x="446" y="134"/>
                    <a:pt x="448" y="113"/>
                    <a:pt x="448" y="93"/>
                  </a:cubicBezTo>
                  <a:cubicBezTo>
                    <a:pt x="448" y="61"/>
                    <a:pt x="444" y="30"/>
                    <a:pt x="438" y="0"/>
                  </a:cubicBezTo>
                  <a:cubicBezTo>
                    <a:pt x="438" y="0"/>
                    <a:pt x="438" y="0"/>
                    <a:pt x="438" y="0"/>
                  </a:cubicBezTo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1D991425-9A1B-4853-BAAD-6C0CA1565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3" y="2718"/>
              <a:ext cx="415" cy="260"/>
            </a:xfrm>
            <a:custGeom>
              <a:avLst/>
              <a:gdLst>
                <a:gd name="T0" fmla="*/ 29 w 219"/>
                <a:gd name="T1" fmla="*/ 0 h 137"/>
                <a:gd name="T2" fmla="*/ 12 w 219"/>
                <a:gd name="T3" fmla="*/ 44 h 137"/>
                <a:gd name="T4" fmla="*/ 0 w 219"/>
                <a:gd name="T5" fmla="*/ 114 h 137"/>
                <a:gd name="T6" fmla="*/ 1 w 219"/>
                <a:gd name="T7" fmla="*/ 134 h 137"/>
                <a:gd name="T8" fmla="*/ 1 w 219"/>
                <a:gd name="T9" fmla="*/ 135 h 137"/>
                <a:gd name="T10" fmla="*/ 46 w 219"/>
                <a:gd name="T11" fmla="*/ 137 h 137"/>
                <a:gd name="T12" fmla="*/ 219 w 219"/>
                <a:gd name="T13" fmla="*/ 101 h 137"/>
                <a:gd name="T14" fmla="*/ 59 w 219"/>
                <a:gd name="T15" fmla="*/ 12 h 137"/>
                <a:gd name="T16" fmla="*/ 29 w 219"/>
                <a:gd name="T1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9" h="137">
                  <a:moveTo>
                    <a:pt x="29" y="0"/>
                  </a:moveTo>
                  <a:cubicBezTo>
                    <a:pt x="22" y="15"/>
                    <a:pt x="17" y="30"/>
                    <a:pt x="12" y="44"/>
                  </a:cubicBezTo>
                  <a:cubicBezTo>
                    <a:pt x="4" y="70"/>
                    <a:pt x="0" y="93"/>
                    <a:pt x="0" y="114"/>
                  </a:cubicBezTo>
                  <a:cubicBezTo>
                    <a:pt x="0" y="121"/>
                    <a:pt x="0" y="128"/>
                    <a:pt x="1" y="134"/>
                  </a:cubicBezTo>
                  <a:cubicBezTo>
                    <a:pt x="1" y="135"/>
                    <a:pt x="1" y="135"/>
                    <a:pt x="1" y="135"/>
                  </a:cubicBezTo>
                  <a:cubicBezTo>
                    <a:pt x="16" y="136"/>
                    <a:pt x="31" y="137"/>
                    <a:pt x="46" y="137"/>
                  </a:cubicBezTo>
                  <a:cubicBezTo>
                    <a:pt x="107" y="137"/>
                    <a:pt x="166" y="124"/>
                    <a:pt x="219" y="101"/>
                  </a:cubicBezTo>
                  <a:cubicBezTo>
                    <a:pt x="172" y="69"/>
                    <a:pt x="119" y="39"/>
                    <a:pt x="59" y="12"/>
                  </a:cubicBezTo>
                  <a:cubicBezTo>
                    <a:pt x="49" y="8"/>
                    <a:pt x="39" y="4"/>
                    <a:pt x="29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39937D-A797-4A74-B576-60C1722C1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A290BA-C0C6-45F8-9FFD-B16F677023B3}"/>
              </a:ext>
            </a:extLst>
          </p:cNvPr>
          <p:cNvSpPr/>
          <p:nvPr/>
        </p:nvSpPr>
        <p:spPr>
          <a:xfrm>
            <a:off x="0" y="0"/>
            <a:ext cx="35814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/>
              <a:t>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DD65989-293E-4D2C-8879-25FD4C3A0FD8}"/>
              </a:ext>
            </a:extLst>
          </p:cNvPr>
          <p:cNvSpPr txBox="1"/>
          <p:nvPr/>
        </p:nvSpPr>
        <p:spPr>
          <a:xfrm>
            <a:off x="599668" y="3133535"/>
            <a:ext cx="2260234" cy="5909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GB" sz="4800" b="1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3B616AA-57FC-4FAA-8064-65327F694B10}"/>
              </a:ext>
            </a:extLst>
          </p:cNvPr>
          <p:cNvSpPr/>
          <p:nvPr/>
        </p:nvSpPr>
        <p:spPr>
          <a:xfrm>
            <a:off x="3581400" y="0"/>
            <a:ext cx="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FAE739D0-59DC-4D53-BB13-173764FCE0EF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425556" y="728711"/>
            <a:ext cx="540000" cy="54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797E6425-1FC3-427E-B48C-71990C5D5B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63223" y="832512"/>
            <a:ext cx="6341402" cy="33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2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genda item 1</a:t>
            </a:r>
            <a:endParaRPr lang="en-GB"/>
          </a:p>
        </p:txBody>
      </p:sp>
      <p:sp>
        <p:nvSpPr>
          <p:cNvPr id="84" name="Text Placeholder 62">
            <a:extLst>
              <a:ext uri="{FF2B5EF4-FFF2-40B4-BE49-F238E27FC236}">
                <a16:creationId xmlns:a16="http://schemas.microsoft.com/office/drawing/2014/main" id="{50EABB97-F686-47AF-ACFC-C56BBB7788CE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425556" y="1543451"/>
            <a:ext cx="540000" cy="54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85" name="Text Placeholder 64">
            <a:extLst>
              <a:ext uri="{FF2B5EF4-FFF2-40B4-BE49-F238E27FC236}">
                <a16:creationId xmlns:a16="http://schemas.microsoft.com/office/drawing/2014/main" id="{6E9E97E2-6513-4B48-BFBA-6997610576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63223" y="1647252"/>
            <a:ext cx="6341402" cy="33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2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genda item 2</a:t>
            </a:r>
            <a:endParaRPr lang="en-GB"/>
          </a:p>
        </p:txBody>
      </p:sp>
      <p:sp>
        <p:nvSpPr>
          <p:cNvPr id="86" name="Text Placeholder 62">
            <a:extLst>
              <a:ext uri="{FF2B5EF4-FFF2-40B4-BE49-F238E27FC236}">
                <a16:creationId xmlns:a16="http://schemas.microsoft.com/office/drawing/2014/main" id="{0440E411-51DA-48CF-9FAE-73B40EA2EDD7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425556" y="2358191"/>
            <a:ext cx="540000" cy="54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87" name="Text Placeholder 64">
            <a:extLst>
              <a:ext uri="{FF2B5EF4-FFF2-40B4-BE49-F238E27FC236}">
                <a16:creationId xmlns:a16="http://schemas.microsoft.com/office/drawing/2014/main" id="{FE9A8C91-C9A5-42F2-A755-5A6B1893C7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63223" y="2461992"/>
            <a:ext cx="6341402" cy="33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2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genda item 3</a:t>
            </a:r>
            <a:endParaRPr lang="en-GB"/>
          </a:p>
        </p:txBody>
      </p:sp>
      <p:sp>
        <p:nvSpPr>
          <p:cNvPr id="88" name="Text Placeholder 62">
            <a:extLst>
              <a:ext uri="{FF2B5EF4-FFF2-40B4-BE49-F238E27FC236}">
                <a16:creationId xmlns:a16="http://schemas.microsoft.com/office/drawing/2014/main" id="{570F21BA-FC0F-419D-B97E-940262004634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425556" y="3172931"/>
            <a:ext cx="540000" cy="54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89" name="Text Placeholder 64">
            <a:extLst>
              <a:ext uri="{FF2B5EF4-FFF2-40B4-BE49-F238E27FC236}">
                <a16:creationId xmlns:a16="http://schemas.microsoft.com/office/drawing/2014/main" id="{32BE0D7B-A15F-4B43-9284-64A5101836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63223" y="3276732"/>
            <a:ext cx="6341402" cy="33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2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genda item 4</a:t>
            </a:r>
            <a:endParaRPr lang="en-GB"/>
          </a:p>
        </p:txBody>
      </p:sp>
      <p:sp>
        <p:nvSpPr>
          <p:cNvPr id="90" name="Text Placeholder 62">
            <a:extLst>
              <a:ext uri="{FF2B5EF4-FFF2-40B4-BE49-F238E27FC236}">
                <a16:creationId xmlns:a16="http://schemas.microsoft.com/office/drawing/2014/main" id="{F46FBB1D-926C-4943-A441-A13CFABDFCC3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4425556" y="3987671"/>
            <a:ext cx="540000" cy="54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91" name="Text Placeholder 64">
            <a:extLst>
              <a:ext uri="{FF2B5EF4-FFF2-40B4-BE49-F238E27FC236}">
                <a16:creationId xmlns:a16="http://schemas.microsoft.com/office/drawing/2014/main" id="{82622A38-ACF6-40CC-A063-B7A5A8E8B0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63223" y="4091472"/>
            <a:ext cx="6341402" cy="33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2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genda item 5</a:t>
            </a:r>
            <a:endParaRPr lang="en-GB"/>
          </a:p>
        </p:txBody>
      </p:sp>
      <p:sp>
        <p:nvSpPr>
          <p:cNvPr id="92" name="Text Placeholder 62">
            <a:extLst>
              <a:ext uri="{FF2B5EF4-FFF2-40B4-BE49-F238E27FC236}">
                <a16:creationId xmlns:a16="http://schemas.microsoft.com/office/drawing/2014/main" id="{FB31DE5F-3DEE-42DA-B448-4568DBD5BB9A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4425556" y="4802411"/>
            <a:ext cx="540000" cy="54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93" name="Text Placeholder 64">
            <a:extLst>
              <a:ext uri="{FF2B5EF4-FFF2-40B4-BE49-F238E27FC236}">
                <a16:creationId xmlns:a16="http://schemas.microsoft.com/office/drawing/2014/main" id="{65DAB8F3-C4EB-410A-A6D4-F30B0AA50B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63223" y="4906212"/>
            <a:ext cx="6341402" cy="33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2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genda item 6</a:t>
            </a:r>
            <a:endParaRPr lang="en-GB"/>
          </a:p>
        </p:txBody>
      </p:sp>
      <p:sp>
        <p:nvSpPr>
          <p:cNvPr id="94" name="Text Placeholder 62">
            <a:extLst>
              <a:ext uri="{FF2B5EF4-FFF2-40B4-BE49-F238E27FC236}">
                <a16:creationId xmlns:a16="http://schemas.microsoft.com/office/drawing/2014/main" id="{40B27771-5342-48F3-B10D-7C1072E4C1D4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4425556" y="5617151"/>
            <a:ext cx="540000" cy="54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95" name="Text Placeholder 64">
            <a:extLst>
              <a:ext uri="{FF2B5EF4-FFF2-40B4-BE49-F238E27FC236}">
                <a16:creationId xmlns:a16="http://schemas.microsoft.com/office/drawing/2014/main" id="{4093FA1C-3944-439B-8CA8-174326DBCE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63223" y="5720952"/>
            <a:ext cx="6341402" cy="33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2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genda item 7</a:t>
            </a:r>
            <a:endParaRPr lang="en-GB"/>
          </a:p>
        </p:txBody>
      </p:sp>
      <p:sp>
        <p:nvSpPr>
          <p:cNvPr id="125" name="Footer Placeholder 4">
            <a:extLst>
              <a:ext uri="{FF2B5EF4-FFF2-40B4-BE49-F238E27FC236}">
                <a16:creationId xmlns:a16="http://schemas.microsoft.com/office/drawing/2014/main" id="{A61C5876-D72C-4BCA-847D-EC9A2ADDCC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21149" y="6498723"/>
            <a:ext cx="41148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126" name="Picture 125">
            <a:extLst>
              <a:ext uri="{FF2B5EF4-FFF2-40B4-BE49-F238E27FC236}">
                <a16:creationId xmlns:a16="http://schemas.microsoft.com/office/drawing/2014/main" id="{55A30AE6-FE7B-9F47-BD36-C3E4AB6374C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704" y="5796874"/>
            <a:ext cx="780446" cy="84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64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B11D287-D165-4BC7-AD0A-6C1F8ACE2230}"/>
              </a:ext>
            </a:extLst>
          </p:cNvPr>
          <p:cNvSpPr/>
          <p:nvPr/>
        </p:nvSpPr>
        <p:spPr>
          <a:xfrm>
            <a:off x="0" y="1442243"/>
            <a:ext cx="12192000" cy="39608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B65DF1F-030D-46F3-993A-B1C1FE6042D9}"/>
              </a:ext>
            </a:extLst>
          </p:cNvPr>
          <p:cNvSpPr>
            <a:spLocks/>
          </p:cNvSpPr>
          <p:nvPr/>
        </p:nvSpPr>
        <p:spPr bwMode="auto">
          <a:xfrm>
            <a:off x="8855787" y="1909382"/>
            <a:ext cx="3348913" cy="3506376"/>
          </a:xfrm>
          <a:custGeom>
            <a:avLst/>
            <a:gdLst>
              <a:gd name="connsiteX0" fmla="*/ 1715698 w 4997428"/>
              <a:gd name="connsiteY0" fmla="*/ 3352613 h 5232402"/>
              <a:gd name="connsiteX1" fmla="*/ 2156976 w 4997428"/>
              <a:gd name="connsiteY1" fmla="*/ 4593909 h 5232402"/>
              <a:gd name="connsiteX2" fmla="*/ 2675550 w 4997428"/>
              <a:gd name="connsiteY2" fmla="*/ 5232402 h 5232402"/>
              <a:gd name="connsiteX3" fmla="*/ 1556212 w 4997428"/>
              <a:gd name="connsiteY3" fmla="*/ 5232402 h 5232402"/>
              <a:gd name="connsiteX4" fmla="*/ 33267 w 4997428"/>
              <a:gd name="connsiteY4" fmla="*/ 4501998 h 5232402"/>
              <a:gd name="connsiteX5" fmla="*/ 32778 w 4997428"/>
              <a:gd name="connsiteY5" fmla="*/ 4501509 h 5232402"/>
              <a:gd name="connsiteX6" fmla="*/ 0 w 4997428"/>
              <a:gd name="connsiteY6" fmla="*/ 4392486 h 5232402"/>
              <a:gd name="connsiteX7" fmla="*/ 77786 w 4997428"/>
              <a:gd name="connsiteY7" fmla="*/ 4231641 h 5232402"/>
              <a:gd name="connsiteX8" fmla="*/ 150191 w 4997428"/>
              <a:gd name="connsiteY8" fmla="*/ 4183240 h 5232402"/>
              <a:gd name="connsiteX9" fmla="*/ 150680 w 4997428"/>
              <a:gd name="connsiteY9" fmla="*/ 4182752 h 5232402"/>
              <a:gd name="connsiteX10" fmla="*/ 151170 w 4997428"/>
              <a:gd name="connsiteY10" fmla="*/ 4182263 h 5232402"/>
              <a:gd name="connsiteX11" fmla="*/ 300382 w 4997428"/>
              <a:gd name="connsiteY11" fmla="*/ 4080573 h 5232402"/>
              <a:gd name="connsiteX12" fmla="*/ 353707 w 4997428"/>
              <a:gd name="connsiteY12" fmla="*/ 4045862 h 5232402"/>
              <a:gd name="connsiteX13" fmla="*/ 1076776 w 4997428"/>
              <a:gd name="connsiteY13" fmla="*/ 3635682 h 5232402"/>
              <a:gd name="connsiteX14" fmla="*/ 1715698 w 4997428"/>
              <a:gd name="connsiteY14" fmla="*/ 3352613 h 5232402"/>
              <a:gd name="connsiteX15" fmla="*/ 863321 w 4997428"/>
              <a:gd name="connsiteY15" fmla="*/ 2153521 h 5232402"/>
              <a:gd name="connsiteX16" fmla="*/ 947042 w 4997428"/>
              <a:gd name="connsiteY16" fmla="*/ 2154010 h 5232402"/>
              <a:gd name="connsiteX17" fmla="*/ 1593308 w 4997428"/>
              <a:gd name="connsiteY17" fmla="*/ 2189739 h 5232402"/>
              <a:gd name="connsiteX18" fmla="*/ 1677518 w 4997428"/>
              <a:gd name="connsiteY18" fmla="*/ 3136317 h 5232402"/>
              <a:gd name="connsiteX19" fmla="*/ 974949 w 4997428"/>
              <a:gd name="connsiteY19" fmla="*/ 3444665 h 5232402"/>
              <a:gd name="connsiteX20" fmla="*/ 428560 w 4997428"/>
              <a:gd name="connsiteY20" fmla="*/ 2363980 h 5232402"/>
              <a:gd name="connsiteX21" fmla="*/ 460384 w 4997428"/>
              <a:gd name="connsiteY21" fmla="*/ 2250430 h 5232402"/>
              <a:gd name="connsiteX22" fmla="*/ 616075 w 4997428"/>
              <a:gd name="connsiteY22" fmla="*/ 2157926 h 5232402"/>
              <a:gd name="connsiteX23" fmla="*/ 863321 w 4997428"/>
              <a:gd name="connsiteY23" fmla="*/ 2153521 h 5232402"/>
              <a:gd name="connsiteX24" fmla="*/ 3345492 w 4997428"/>
              <a:gd name="connsiteY24" fmla="*/ 1662983 h 5232402"/>
              <a:gd name="connsiteX25" fmla="*/ 3391977 w 4997428"/>
              <a:gd name="connsiteY25" fmla="*/ 1682541 h 5232402"/>
              <a:gd name="connsiteX26" fmla="*/ 3439930 w 4997428"/>
              <a:gd name="connsiteY26" fmla="*/ 1722147 h 5232402"/>
              <a:gd name="connsiteX27" fmla="*/ 3577428 w 4997428"/>
              <a:gd name="connsiteY27" fmla="*/ 1839987 h 5232402"/>
              <a:gd name="connsiteX28" fmla="*/ 4022218 w 4997428"/>
              <a:gd name="connsiteY28" fmla="*/ 2282497 h 5232402"/>
              <a:gd name="connsiteX29" fmla="*/ 4935285 w 4997428"/>
              <a:gd name="connsiteY29" fmla="*/ 3795833 h 5232402"/>
              <a:gd name="connsiteX30" fmla="*/ 4997428 w 4997428"/>
              <a:gd name="connsiteY30" fmla="*/ 4005598 h 5232402"/>
              <a:gd name="connsiteX31" fmla="*/ 4997428 w 4997428"/>
              <a:gd name="connsiteY31" fmla="*/ 5232402 h 5232402"/>
              <a:gd name="connsiteX32" fmla="*/ 3778538 w 4997428"/>
              <a:gd name="connsiteY32" fmla="*/ 5232402 h 5232402"/>
              <a:gd name="connsiteX33" fmla="*/ 3309772 w 4997428"/>
              <a:gd name="connsiteY33" fmla="*/ 4529764 h 5232402"/>
              <a:gd name="connsiteX34" fmla="*/ 3134596 w 4997428"/>
              <a:gd name="connsiteY34" fmla="*/ 3215925 h 5232402"/>
              <a:gd name="connsiteX35" fmla="*/ 3263287 w 4997428"/>
              <a:gd name="connsiteY35" fmla="*/ 1857590 h 5232402"/>
              <a:gd name="connsiteX36" fmla="*/ 3286774 w 4997428"/>
              <a:gd name="connsiteY36" fmla="*/ 1742195 h 5232402"/>
              <a:gd name="connsiteX37" fmla="*/ 3345492 w 4997428"/>
              <a:gd name="connsiteY37" fmla="*/ 1662983 h 5232402"/>
              <a:gd name="connsiteX38" fmla="*/ 1985716 w 4997428"/>
              <a:gd name="connsiteY38" fmla="*/ 829675 h 5232402"/>
              <a:gd name="connsiteX39" fmla="*/ 2042469 w 4997428"/>
              <a:gd name="connsiteY39" fmla="*/ 842388 h 5232402"/>
              <a:gd name="connsiteX40" fmla="*/ 2043448 w 4997428"/>
              <a:gd name="connsiteY40" fmla="*/ 842877 h 5232402"/>
              <a:gd name="connsiteX41" fmla="*/ 2043937 w 4997428"/>
              <a:gd name="connsiteY41" fmla="*/ 842877 h 5232402"/>
              <a:gd name="connsiteX42" fmla="*/ 2127599 w 4997428"/>
              <a:gd name="connsiteY42" fmla="*/ 878572 h 5232402"/>
              <a:gd name="connsiteX43" fmla="*/ 2337487 w 4997428"/>
              <a:gd name="connsiteY43" fmla="*/ 973433 h 5232402"/>
              <a:gd name="connsiteX44" fmla="*/ 2367820 w 4997428"/>
              <a:gd name="connsiteY44" fmla="*/ 987614 h 5232402"/>
              <a:gd name="connsiteX45" fmla="*/ 3151109 w 4997428"/>
              <a:gd name="connsiteY45" fmla="*/ 1421823 h 5232402"/>
              <a:gd name="connsiteX46" fmla="*/ 3235749 w 4997428"/>
              <a:gd name="connsiteY46" fmla="*/ 1474632 h 5232402"/>
              <a:gd name="connsiteX47" fmla="*/ 3077722 w 4997428"/>
              <a:gd name="connsiteY47" fmla="*/ 1695160 h 5232402"/>
              <a:gd name="connsiteX48" fmla="*/ 3075765 w 4997428"/>
              <a:gd name="connsiteY48" fmla="*/ 1705428 h 5232402"/>
              <a:gd name="connsiteX49" fmla="*/ 2920183 w 4997428"/>
              <a:gd name="connsiteY49" fmla="*/ 3215871 h 5232402"/>
              <a:gd name="connsiteX50" fmla="*/ 3104141 w 4997428"/>
              <a:gd name="connsiteY50" fmla="*/ 4592334 h 5232402"/>
              <a:gd name="connsiteX51" fmla="*/ 3470100 w 4997428"/>
              <a:gd name="connsiteY51" fmla="*/ 5232402 h 5232402"/>
              <a:gd name="connsiteX52" fmla="*/ 3038092 w 4997428"/>
              <a:gd name="connsiteY52" fmla="*/ 5232402 h 5232402"/>
              <a:gd name="connsiteX53" fmla="*/ 2341890 w 4997428"/>
              <a:gd name="connsiteY53" fmla="*/ 4487205 h 5232402"/>
              <a:gd name="connsiteX54" fmla="*/ 1804694 w 4997428"/>
              <a:gd name="connsiteY54" fmla="*/ 1983166 h 5232402"/>
              <a:gd name="connsiteX55" fmla="*/ 1838941 w 4997428"/>
              <a:gd name="connsiteY55" fmla="*/ 1229656 h 5232402"/>
              <a:gd name="connsiteX56" fmla="*/ 1870743 w 4997428"/>
              <a:gd name="connsiteY56" fmla="*/ 939205 h 5232402"/>
              <a:gd name="connsiteX57" fmla="*/ 1985716 w 4997428"/>
              <a:gd name="connsiteY57" fmla="*/ 829675 h 5232402"/>
              <a:gd name="connsiteX58" fmla="*/ 3454840 w 4997428"/>
              <a:gd name="connsiteY58" fmla="*/ 225284 h 5232402"/>
              <a:gd name="connsiteX59" fmla="*/ 3475877 w 4997428"/>
              <a:gd name="connsiteY59" fmla="*/ 226752 h 5232402"/>
              <a:gd name="connsiteX60" fmla="*/ 3476366 w 4997428"/>
              <a:gd name="connsiteY60" fmla="*/ 227241 h 5232402"/>
              <a:gd name="connsiteX61" fmla="*/ 3477345 w 4997428"/>
              <a:gd name="connsiteY61" fmla="*/ 227241 h 5232402"/>
              <a:gd name="connsiteX62" fmla="*/ 3527736 w 4997428"/>
              <a:gd name="connsiteY62" fmla="*/ 247791 h 5232402"/>
              <a:gd name="connsiteX63" fmla="*/ 3528226 w 4997428"/>
              <a:gd name="connsiteY63" fmla="*/ 248280 h 5232402"/>
              <a:gd name="connsiteX64" fmla="*/ 3529204 w 4997428"/>
              <a:gd name="connsiteY64" fmla="*/ 248769 h 5232402"/>
              <a:gd name="connsiteX65" fmla="*/ 3826172 w 4997428"/>
              <a:gd name="connsiteY65" fmla="*/ 449371 h 5232402"/>
              <a:gd name="connsiteX66" fmla="*/ 4276762 w 4997428"/>
              <a:gd name="connsiteY66" fmla="*/ 798712 h 5232402"/>
              <a:gd name="connsiteX67" fmla="*/ 3902494 w 4997428"/>
              <a:gd name="connsiteY67" fmla="*/ 1684785 h 5232402"/>
              <a:gd name="connsiteX68" fmla="*/ 3130963 w 4997428"/>
              <a:gd name="connsiteY68" fmla="*/ 1155881 h 5232402"/>
              <a:gd name="connsiteX69" fmla="*/ 3342314 w 4997428"/>
              <a:gd name="connsiteY69" fmla="*/ 323139 h 5232402"/>
              <a:gd name="connsiteX70" fmla="*/ 3345250 w 4997428"/>
              <a:gd name="connsiteY70" fmla="*/ 314332 h 5232402"/>
              <a:gd name="connsiteX71" fmla="*/ 3454840 w 4997428"/>
              <a:gd name="connsiteY71" fmla="*/ 225284 h 5232402"/>
              <a:gd name="connsiteX72" fmla="*/ 4997428 w 4997428"/>
              <a:gd name="connsiteY72" fmla="*/ 0 h 5232402"/>
              <a:gd name="connsiteX73" fmla="*/ 4996450 w 4997428"/>
              <a:gd name="connsiteY73" fmla="*/ 3311432 h 5232402"/>
              <a:gd name="connsiteX74" fmla="*/ 4030887 w 4997428"/>
              <a:gd name="connsiteY74" fmla="*/ 1977273 h 5232402"/>
              <a:gd name="connsiteX75" fmla="*/ 4879116 w 4997428"/>
              <a:gd name="connsiteY75" fmla="*/ 134003 h 5232402"/>
              <a:gd name="connsiteX76" fmla="*/ 4930450 w 4997428"/>
              <a:gd name="connsiteY76" fmla="*/ 52819 h 5232402"/>
              <a:gd name="connsiteX77" fmla="*/ 4997428 w 4997428"/>
              <a:gd name="connsiteY77" fmla="*/ 0 h 523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997428" h="5232402">
                <a:moveTo>
                  <a:pt x="1715698" y="3352613"/>
                </a:moveTo>
                <a:cubicBezTo>
                  <a:pt x="1810607" y="3830261"/>
                  <a:pt x="1959330" y="4247774"/>
                  <a:pt x="2156976" y="4593909"/>
                </a:cubicBezTo>
                <a:cubicBezTo>
                  <a:pt x="2304231" y="4852533"/>
                  <a:pt x="2477905" y="5065201"/>
                  <a:pt x="2675550" y="5232402"/>
                </a:cubicBezTo>
                <a:cubicBezTo>
                  <a:pt x="2675550" y="5232402"/>
                  <a:pt x="2675550" y="5232402"/>
                  <a:pt x="1556212" y="5232402"/>
                </a:cubicBezTo>
                <a:cubicBezTo>
                  <a:pt x="445191" y="4978667"/>
                  <a:pt x="81700" y="4563598"/>
                  <a:pt x="33267" y="4501998"/>
                </a:cubicBezTo>
                <a:cubicBezTo>
                  <a:pt x="33267" y="4501998"/>
                  <a:pt x="33267" y="4501998"/>
                  <a:pt x="32778" y="4501509"/>
                </a:cubicBezTo>
                <a:cubicBezTo>
                  <a:pt x="10763" y="4468264"/>
                  <a:pt x="0" y="4431597"/>
                  <a:pt x="0" y="4392486"/>
                </a:cubicBezTo>
                <a:cubicBezTo>
                  <a:pt x="0" y="4328930"/>
                  <a:pt x="29843" y="4267330"/>
                  <a:pt x="77786" y="4231641"/>
                </a:cubicBezTo>
                <a:cubicBezTo>
                  <a:pt x="77786" y="4231641"/>
                  <a:pt x="103715" y="4214529"/>
                  <a:pt x="150191" y="4183240"/>
                </a:cubicBezTo>
                <a:cubicBezTo>
                  <a:pt x="150191" y="4183240"/>
                  <a:pt x="150191" y="4183240"/>
                  <a:pt x="150680" y="4182752"/>
                </a:cubicBezTo>
                <a:cubicBezTo>
                  <a:pt x="150680" y="4182752"/>
                  <a:pt x="150680" y="4182752"/>
                  <a:pt x="151170" y="4182263"/>
                </a:cubicBezTo>
                <a:cubicBezTo>
                  <a:pt x="186393" y="4155862"/>
                  <a:pt x="236783" y="4122618"/>
                  <a:pt x="300382" y="4080573"/>
                </a:cubicBezTo>
                <a:cubicBezTo>
                  <a:pt x="317505" y="4069818"/>
                  <a:pt x="335117" y="4058084"/>
                  <a:pt x="353707" y="4045862"/>
                </a:cubicBezTo>
                <a:cubicBezTo>
                  <a:pt x="511725" y="3944661"/>
                  <a:pt x="765631" y="3791149"/>
                  <a:pt x="1076776" y="3635682"/>
                </a:cubicBezTo>
                <a:cubicBezTo>
                  <a:pt x="1292033" y="3527148"/>
                  <a:pt x="1506801" y="3431814"/>
                  <a:pt x="1715698" y="3352613"/>
                </a:cubicBezTo>
                <a:close/>
                <a:moveTo>
                  <a:pt x="863321" y="2153521"/>
                </a:moveTo>
                <a:cubicBezTo>
                  <a:pt x="889759" y="2153521"/>
                  <a:pt x="917666" y="2153521"/>
                  <a:pt x="947042" y="2154010"/>
                </a:cubicBezTo>
                <a:cubicBezTo>
                  <a:pt x="1086087" y="2155479"/>
                  <a:pt x="1309832" y="2163310"/>
                  <a:pt x="1593308" y="2189739"/>
                </a:cubicBezTo>
                <a:cubicBezTo>
                  <a:pt x="1601141" y="2514728"/>
                  <a:pt x="1629538" y="2832864"/>
                  <a:pt x="1677518" y="3136317"/>
                </a:cubicBezTo>
                <a:cubicBezTo>
                  <a:pt x="1448877" y="3222948"/>
                  <a:pt x="1212892" y="3326710"/>
                  <a:pt x="974949" y="3444665"/>
                </a:cubicBezTo>
                <a:cubicBezTo>
                  <a:pt x="510323" y="2858805"/>
                  <a:pt x="439332" y="2469699"/>
                  <a:pt x="428560" y="2363980"/>
                </a:cubicBezTo>
                <a:cubicBezTo>
                  <a:pt x="425133" y="2327762"/>
                  <a:pt x="445207" y="2272455"/>
                  <a:pt x="460384" y="2250430"/>
                </a:cubicBezTo>
                <a:cubicBezTo>
                  <a:pt x="498083" y="2195123"/>
                  <a:pt x="554386" y="2161841"/>
                  <a:pt x="616075" y="2157926"/>
                </a:cubicBezTo>
                <a:cubicBezTo>
                  <a:pt x="616565" y="2157926"/>
                  <a:pt x="708609" y="2153521"/>
                  <a:pt x="863321" y="2153521"/>
                </a:cubicBezTo>
                <a:close/>
                <a:moveTo>
                  <a:pt x="3345492" y="1662983"/>
                </a:moveTo>
                <a:cubicBezTo>
                  <a:pt x="3359682" y="1662983"/>
                  <a:pt x="3374851" y="1669339"/>
                  <a:pt x="3391977" y="1682541"/>
                </a:cubicBezTo>
                <a:cubicBezTo>
                  <a:pt x="3392466" y="1683030"/>
                  <a:pt x="3409103" y="1695254"/>
                  <a:pt x="3439930" y="1722147"/>
                </a:cubicBezTo>
                <a:cubicBezTo>
                  <a:pt x="3471246" y="1747084"/>
                  <a:pt x="3515774" y="1785712"/>
                  <a:pt x="3577428" y="1839987"/>
                </a:cubicBezTo>
                <a:cubicBezTo>
                  <a:pt x="3659634" y="1913331"/>
                  <a:pt x="3826980" y="2067843"/>
                  <a:pt x="4022218" y="2282497"/>
                </a:cubicBezTo>
                <a:cubicBezTo>
                  <a:pt x="4330978" y="2626237"/>
                  <a:pt x="4740536" y="3168006"/>
                  <a:pt x="4935285" y="3795833"/>
                </a:cubicBezTo>
                <a:cubicBezTo>
                  <a:pt x="4960240" y="3876512"/>
                  <a:pt x="4978345" y="3929320"/>
                  <a:pt x="4997428" y="4005598"/>
                </a:cubicBezTo>
                <a:cubicBezTo>
                  <a:pt x="4997428" y="4005598"/>
                  <a:pt x="4997428" y="4005598"/>
                  <a:pt x="4997428" y="5232402"/>
                </a:cubicBezTo>
                <a:cubicBezTo>
                  <a:pt x="4997428" y="5232402"/>
                  <a:pt x="4997428" y="5232402"/>
                  <a:pt x="3778538" y="5232402"/>
                </a:cubicBezTo>
                <a:cubicBezTo>
                  <a:pt x="3580364" y="5068600"/>
                  <a:pt x="3405189" y="4836343"/>
                  <a:pt x="3309772" y="4529764"/>
                </a:cubicBezTo>
                <a:cubicBezTo>
                  <a:pt x="3193803" y="4155220"/>
                  <a:pt x="3134596" y="3713199"/>
                  <a:pt x="3134596" y="3215925"/>
                </a:cubicBezTo>
                <a:cubicBezTo>
                  <a:pt x="3134596" y="2598366"/>
                  <a:pt x="3224630" y="2060509"/>
                  <a:pt x="3263287" y="1857590"/>
                </a:cubicBezTo>
                <a:cubicBezTo>
                  <a:pt x="3277966" y="1783267"/>
                  <a:pt x="3286774" y="1742195"/>
                  <a:pt x="3286774" y="1742195"/>
                </a:cubicBezTo>
                <a:cubicBezTo>
                  <a:pt x="3296071" y="1706989"/>
                  <a:pt x="3313686" y="1662983"/>
                  <a:pt x="3345492" y="1662983"/>
                </a:cubicBezTo>
                <a:close/>
                <a:moveTo>
                  <a:pt x="1985716" y="829675"/>
                </a:moveTo>
                <a:cubicBezTo>
                  <a:pt x="1997948" y="829675"/>
                  <a:pt x="2017518" y="832120"/>
                  <a:pt x="2042469" y="842388"/>
                </a:cubicBezTo>
                <a:cubicBezTo>
                  <a:pt x="2042469" y="842388"/>
                  <a:pt x="2042469" y="842388"/>
                  <a:pt x="2043448" y="842877"/>
                </a:cubicBezTo>
                <a:cubicBezTo>
                  <a:pt x="2043448" y="842877"/>
                  <a:pt x="2043448" y="842877"/>
                  <a:pt x="2043937" y="842877"/>
                </a:cubicBezTo>
                <a:cubicBezTo>
                  <a:pt x="2044426" y="842877"/>
                  <a:pt x="2073781" y="853635"/>
                  <a:pt x="2127599" y="878572"/>
                </a:cubicBezTo>
                <a:cubicBezTo>
                  <a:pt x="2179949" y="899598"/>
                  <a:pt x="2249422" y="932360"/>
                  <a:pt x="2337487" y="973433"/>
                </a:cubicBezTo>
                <a:cubicBezTo>
                  <a:pt x="2337487" y="973433"/>
                  <a:pt x="2337487" y="973433"/>
                  <a:pt x="2367820" y="987614"/>
                </a:cubicBezTo>
                <a:cubicBezTo>
                  <a:pt x="2638376" y="1118659"/>
                  <a:pt x="2902081" y="1264862"/>
                  <a:pt x="3151109" y="1421823"/>
                </a:cubicBezTo>
                <a:cubicBezTo>
                  <a:pt x="3179486" y="1437959"/>
                  <a:pt x="3207862" y="1456051"/>
                  <a:pt x="3235749" y="1474632"/>
                </a:cubicBezTo>
                <a:cubicBezTo>
                  <a:pt x="3158937" y="1513261"/>
                  <a:pt x="3099738" y="1594431"/>
                  <a:pt x="3077722" y="1695160"/>
                </a:cubicBezTo>
                <a:cubicBezTo>
                  <a:pt x="3077232" y="1698094"/>
                  <a:pt x="3076743" y="1701028"/>
                  <a:pt x="3075765" y="1705428"/>
                </a:cubicBezTo>
                <a:cubicBezTo>
                  <a:pt x="3039560" y="1877547"/>
                  <a:pt x="2920183" y="2495122"/>
                  <a:pt x="2920183" y="3215871"/>
                </a:cubicBezTo>
                <a:cubicBezTo>
                  <a:pt x="2920183" y="3734673"/>
                  <a:pt x="2982318" y="4197732"/>
                  <a:pt x="3104141" y="4592334"/>
                </a:cubicBezTo>
                <a:cubicBezTo>
                  <a:pt x="3191228" y="4868116"/>
                  <a:pt x="3328218" y="5076419"/>
                  <a:pt x="3470100" y="5232402"/>
                </a:cubicBezTo>
                <a:cubicBezTo>
                  <a:pt x="3470100" y="5232402"/>
                  <a:pt x="3470100" y="5232402"/>
                  <a:pt x="3038092" y="5232402"/>
                </a:cubicBezTo>
                <a:cubicBezTo>
                  <a:pt x="2771451" y="5072997"/>
                  <a:pt x="2534165" y="4821663"/>
                  <a:pt x="2341890" y="4487205"/>
                </a:cubicBezTo>
                <a:cubicBezTo>
                  <a:pt x="1897651" y="3710224"/>
                  <a:pt x="1804694" y="2696580"/>
                  <a:pt x="1804694" y="1983166"/>
                </a:cubicBezTo>
                <a:cubicBezTo>
                  <a:pt x="1804694" y="1730366"/>
                  <a:pt x="1815947" y="1477077"/>
                  <a:pt x="1838941" y="1229656"/>
                </a:cubicBezTo>
                <a:cubicBezTo>
                  <a:pt x="1855576" y="1048246"/>
                  <a:pt x="1870743" y="940183"/>
                  <a:pt x="1870743" y="939205"/>
                </a:cubicBezTo>
                <a:cubicBezTo>
                  <a:pt x="1884442" y="867815"/>
                  <a:pt x="1922114" y="831631"/>
                  <a:pt x="1985716" y="829675"/>
                </a:cubicBezTo>
                <a:close/>
                <a:moveTo>
                  <a:pt x="3454840" y="225284"/>
                </a:moveTo>
                <a:cubicBezTo>
                  <a:pt x="3461689" y="225284"/>
                  <a:pt x="3468538" y="225773"/>
                  <a:pt x="3475877" y="226752"/>
                </a:cubicBezTo>
                <a:cubicBezTo>
                  <a:pt x="3475877" y="226752"/>
                  <a:pt x="3475877" y="226752"/>
                  <a:pt x="3476366" y="227241"/>
                </a:cubicBezTo>
                <a:cubicBezTo>
                  <a:pt x="3476366" y="227241"/>
                  <a:pt x="3476366" y="227241"/>
                  <a:pt x="3477345" y="227241"/>
                </a:cubicBezTo>
                <a:cubicBezTo>
                  <a:pt x="3493490" y="228709"/>
                  <a:pt x="3510613" y="235559"/>
                  <a:pt x="3527736" y="247791"/>
                </a:cubicBezTo>
                <a:cubicBezTo>
                  <a:pt x="3527736" y="247791"/>
                  <a:pt x="3527736" y="247791"/>
                  <a:pt x="3528226" y="248280"/>
                </a:cubicBezTo>
                <a:cubicBezTo>
                  <a:pt x="3528226" y="248280"/>
                  <a:pt x="3528226" y="248280"/>
                  <a:pt x="3529204" y="248769"/>
                </a:cubicBezTo>
                <a:cubicBezTo>
                  <a:pt x="3530182" y="249259"/>
                  <a:pt x="3646621" y="320692"/>
                  <a:pt x="3826172" y="449371"/>
                </a:cubicBezTo>
                <a:cubicBezTo>
                  <a:pt x="3925488" y="520805"/>
                  <a:pt x="4083512" y="638719"/>
                  <a:pt x="4276762" y="798712"/>
                </a:cubicBezTo>
                <a:cubicBezTo>
                  <a:pt x="4136350" y="1090318"/>
                  <a:pt x="4010616" y="1388285"/>
                  <a:pt x="3902494" y="1684785"/>
                </a:cubicBezTo>
                <a:cubicBezTo>
                  <a:pt x="3671573" y="1502775"/>
                  <a:pt x="3418636" y="1329573"/>
                  <a:pt x="3130963" y="1155881"/>
                </a:cubicBezTo>
                <a:cubicBezTo>
                  <a:pt x="3212666" y="743913"/>
                  <a:pt x="3305622" y="437139"/>
                  <a:pt x="3342314" y="323139"/>
                </a:cubicBezTo>
                <a:cubicBezTo>
                  <a:pt x="3343782" y="319224"/>
                  <a:pt x="3344271" y="316778"/>
                  <a:pt x="3345250" y="314332"/>
                </a:cubicBezTo>
                <a:cubicBezTo>
                  <a:pt x="3367755" y="255130"/>
                  <a:pt x="3404448" y="225284"/>
                  <a:pt x="3454840" y="225284"/>
                </a:cubicBezTo>
                <a:close/>
                <a:moveTo>
                  <a:pt x="4997428" y="0"/>
                </a:moveTo>
                <a:cubicBezTo>
                  <a:pt x="4997428" y="0"/>
                  <a:pt x="4997428" y="0"/>
                  <a:pt x="4996450" y="3311432"/>
                </a:cubicBezTo>
                <a:cubicBezTo>
                  <a:pt x="4786715" y="2861007"/>
                  <a:pt x="4449868" y="2413516"/>
                  <a:pt x="4030887" y="1977273"/>
                </a:cubicBezTo>
                <a:cubicBezTo>
                  <a:pt x="4316889" y="1108212"/>
                  <a:pt x="4718759" y="399563"/>
                  <a:pt x="4879116" y="134003"/>
                </a:cubicBezTo>
                <a:cubicBezTo>
                  <a:pt x="4912850" y="80695"/>
                  <a:pt x="4930450" y="52819"/>
                  <a:pt x="4930450" y="52819"/>
                </a:cubicBezTo>
                <a:cubicBezTo>
                  <a:pt x="4962717" y="3912"/>
                  <a:pt x="4989606" y="0"/>
                  <a:pt x="4997428" y="0"/>
                </a:cubicBezTo>
                <a:close/>
              </a:path>
            </a:pathLst>
          </a:custGeom>
          <a:noFill/>
          <a:ln>
            <a:solidFill>
              <a:schemeClr val="bg1">
                <a:alpha val="8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BA48F4-1AFA-43EE-B631-A50D560EF80E}"/>
              </a:ext>
            </a:extLst>
          </p:cNvPr>
          <p:cNvSpPr/>
          <p:nvPr/>
        </p:nvSpPr>
        <p:spPr>
          <a:xfrm>
            <a:off x="0" y="5331056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A175EE-CBAD-40B8-B774-293E97D267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BE757-02F2-4120-86A6-75C9045828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93276" y="2886092"/>
            <a:ext cx="6408000" cy="107311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spcAft>
                <a:spcPts val="1600"/>
              </a:spcAft>
              <a:defRPr sz="2000" b="0">
                <a:solidFill>
                  <a:schemeClr val="bg1"/>
                </a:solidFill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2pPr>
          </a:lstStyle>
          <a:p>
            <a:pPr lvl="0"/>
            <a:endParaRPr lang="en-US"/>
          </a:p>
          <a:p>
            <a:pPr lvl="1"/>
            <a:r>
              <a:rPr lang="en-US"/>
              <a:t>Divider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580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4.07407E-6 L -0.03659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D1DA5-55F2-40D3-B419-631F81A7B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275" y="553913"/>
            <a:ext cx="11010859" cy="9971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AFE0EF-6D08-4FD2-A682-B9FB8E641E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ADFE60-5AD8-457E-9732-7397A5F366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21149" y="6498723"/>
            <a:ext cx="41148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97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B561EF8-1224-43F9-9074-96C48F6BA22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3275" y="1853988"/>
            <a:ext cx="11010859" cy="3951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ACA4E-069D-4351-A086-47231CC096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0CBB9F-C8C0-42D7-BCE5-B450F1470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21149" y="6498723"/>
            <a:ext cx="41148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189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39937D-A797-4A74-B576-60C1722C1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2A680B6-B210-447B-B7B6-12A9479CD2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21149" y="6498723"/>
            <a:ext cx="41148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39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D1DA5-55F2-40D3-B419-631F81A7B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275" y="553913"/>
            <a:ext cx="11010859" cy="9971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B561EF8-1224-43F9-9074-96C48F6BA22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3275" y="1853988"/>
            <a:ext cx="5178725" cy="3951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8F114D6-71D0-44B0-955F-D96A2B62F9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0000" y="1853988"/>
            <a:ext cx="5178725" cy="3951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9CA941-E218-49A3-B55B-69A27AF40D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7217153-25B9-45C8-9E70-28BD194F9C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21149" y="6498723"/>
            <a:ext cx="41148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61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D1DA5-55F2-40D3-B419-631F81A7B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275" y="553913"/>
            <a:ext cx="11010859" cy="9971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B561EF8-1224-43F9-9074-96C48F6BA22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3275" y="1853988"/>
            <a:ext cx="3233523" cy="3951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CAF5EC5-44CA-4A84-BC08-7E3C2E74115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79239" y="1853988"/>
            <a:ext cx="3233523" cy="3951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EF5505D-3F29-4D22-A954-FB8F17A0F67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73870" y="1853988"/>
            <a:ext cx="3233523" cy="3951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DD25D4-AF48-4DA4-8C93-26FFA3C545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E0E394F-B5EE-4122-AB98-EC5AC9181E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21149" y="6498723"/>
            <a:ext cx="41148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23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x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60000" y="1708150"/>
            <a:ext cx="56268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35"/>
          <p:cNvSpPr>
            <a:spLocks noGrp="1"/>
          </p:cNvSpPr>
          <p:nvPr>
            <p:ph sz="quarter" idx="14"/>
          </p:nvPr>
        </p:nvSpPr>
        <p:spPr>
          <a:xfrm>
            <a:off x="6191574" y="1708150"/>
            <a:ext cx="5628408" cy="40036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6393509"/>
            <a:ext cx="4670778" cy="19779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600"/>
              </a:spcBef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footer text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4275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27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0362" y="2984855"/>
            <a:ext cx="11466511" cy="1585557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2400" b="1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2564672"/>
            <a:ext cx="976676" cy="411163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2400" b="1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4275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54012" y="6399213"/>
            <a:ext cx="5741987" cy="18256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118045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646A5C8-9FAD-4A32-B2BD-9D5DD5101B50}"/>
              </a:ext>
            </a:extLst>
          </p:cNvPr>
          <p:cNvSpPr/>
          <p:nvPr userDrawn="1"/>
        </p:nvSpPr>
        <p:spPr>
          <a:xfrm>
            <a:off x="0" y="0"/>
            <a:ext cx="7128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1"/>
              </a:solidFill>
              <a:latin typeface="Public Sans SemiBold" pitchFamily="2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7081598-8EF9-4067-828C-DA3306F3936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12926" y="0"/>
            <a:ext cx="3708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118380"/>
            <a:ext cx="4500000" cy="2679008"/>
          </a:xfrm>
          <a:ln>
            <a:noFill/>
          </a:ln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33BD13-5953-47AF-A601-951A768FED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3960000"/>
            <a:ext cx="4500000" cy="1176813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280053-307C-4D8A-BF45-7B6743FA55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20000" y="3960000"/>
            <a:ext cx="1892926" cy="11768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Public Sans SemiBold" pitchFamily="2" charset="0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B9A9D47-05D2-409D-A941-8374F9F8E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0" y="6120001"/>
            <a:ext cx="2700000" cy="280136"/>
          </a:xfrm>
        </p:spPr>
        <p:txBody>
          <a:bodyPr anchor="t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 marL="0" indent="0">
              <a:buNone/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 Month YY20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E3775B0C-7FFD-4E7F-AC26-D5F1E787B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359999"/>
            <a:ext cx="4500000" cy="51219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bg1"/>
                </a:solidFill>
                <a:latin typeface="Public Sans SemiBold" pitchFamily="2" charset="0"/>
              </a:defRPr>
            </a:lvl1pPr>
          </a:lstStyle>
          <a:p>
            <a:r>
              <a:rPr lang="en-US"/>
              <a:t>Descriptor</a:t>
            </a:r>
            <a:endParaRPr lang="en-AU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283C022-C11C-47A8-B2C6-38BBC7F57777}"/>
              </a:ext>
            </a:extLst>
          </p:cNvPr>
          <p:cNvCxnSpPr>
            <a:cxnSpLocks/>
          </p:cNvCxnSpPr>
          <p:nvPr userDrawn="1"/>
        </p:nvCxnSpPr>
        <p:spPr>
          <a:xfrm>
            <a:off x="360000" y="360000"/>
            <a:ext cx="0" cy="6012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94141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0362" y="1708149"/>
            <a:ext cx="11466511" cy="40181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6393509"/>
            <a:ext cx="4670778" cy="19779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600"/>
              </a:spcBef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footer text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4275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2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06">
          <p15:clr>
            <a:srgbClr val="FBAE40"/>
          </p15:clr>
        </p15:guide>
        <p15:guide id="2" pos="504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708150"/>
            <a:ext cx="11466873" cy="40181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4275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6393509"/>
            <a:ext cx="4670778" cy="19779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600"/>
              </a:spcBef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125212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719CB8DD-1BCE-42DC-8ED4-ADD932A9D3EE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19403" y="1814959"/>
            <a:ext cx="10363200" cy="1470025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694FC0A-2BEB-4EA0-A1B0-85FCC621DF6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719403" y="3908449"/>
            <a:ext cx="8160907" cy="88870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7C4B23-28BB-4788-A2E2-7C8731F00A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137" y="5121275"/>
            <a:ext cx="5299277" cy="4981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DD month 2020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030E58D4-412E-4132-9C87-04BAF15CF4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F94F8D10-29DD-4E78-9A4D-EA6ED60F6D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368" b="-8672"/>
          <a:stretch/>
        </p:blipFill>
        <p:spPr>
          <a:xfrm>
            <a:off x="-91440" y="-91440"/>
            <a:ext cx="6400800" cy="2468880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E3A14EA2-8706-41BC-8FE3-ED62A283C1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8720" y="5264727"/>
            <a:ext cx="2261221" cy="1271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5907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2425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19234"/>
            <a:ext cx="360037" cy="365125"/>
          </a:xfr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61275"/>
            <a:ext cx="11382428" cy="424732"/>
          </a:xfrm>
          <a:prstGeom prst="rect">
            <a:avLst/>
          </a:prstGeom>
        </p:spPr>
        <p:txBody>
          <a:bodyPr/>
          <a:lstStyle>
            <a:lvl1pPr>
              <a:defRPr sz="2400" cap="none"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F53F58-309D-4528-837D-6EF4699846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9528" y="6197968"/>
            <a:ext cx="396860" cy="429038"/>
          </a:xfrm>
          <a:prstGeom prst="rect">
            <a:avLst/>
          </a:prstGeom>
        </p:spPr>
      </p:pic>
      <p:sp>
        <p:nvSpPr>
          <p:cNvPr id="11" name="Rectangle 6">
            <a:extLst>
              <a:ext uri="{FF2B5EF4-FFF2-40B4-BE49-F238E27FC236}">
                <a16:creationId xmlns:a16="http://schemas.microsoft.com/office/drawing/2014/main" id="{11248475-A22A-49B6-938B-5F38C8E70B7F}"/>
              </a:ext>
            </a:extLst>
          </p:cNvPr>
          <p:cNvSpPr/>
          <p:nvPr userDrawn="1"/>
        </p:nvSpPr>
        <p:spPr>
          <a:xfrm>
            <a:off x="10705514" y="1119923"/>
            <a:ext cx="1486486" cy="182880"/>
          </a:xfrm>
          <a:custGeom>
            <a:avLst/>
            <a:gdLst>
              <a:gd name="connsiteX0" fmla="*/ 0 w 1486486"/>
              <a:gd name="connsiteY0" fmla="*/ 0 h 178191"/>
              <a:gd name="connsiteX1" fmla="*/ 1486486 w 1486486"/>
              <a:gd name="connsiteY1" fmla="*/ 0 h 178191"/>
              <a:gd name="connsiteX2" fmla="*/ 1486486 w 1486486"/>
              <a:gd name="connsiteY2" fmla="*/ 178191 h 178191"/>
              <a:gd name="connsiteX3" fmla="*/ 0 w 1486486"/>
              <a:gd name="connsiteY3" fmla="*/ 178191 h 178191"/>
              <a:gd name="connsiteX4" fmla="*/ 0 w 1486486"/>
              <a:gd name="connsiteY4" fmla="*/ 0 h 178191"/>
              <a:gd name="connsiteX0" fmla="*/ 93784 w 1486486"/>
              <a:gd name="connsiteY0" fmla="*/ 0 h 182880"/>
              <a:gd name="connsiteX1" fmla="*/ 1486486 w 1486486"/>
              <a:gd name="connsiteY1" fmla="*/ 4689 h 182880"/>
              <a:gd name="connsiteX2" fmla="*/ 1486486 w 1486486"/>
              <a:gd name="connsiteY2" fmla="*/ 182880 h 182880"/>
              <a:gd name="connsiteX3" fmla="*/ 0 w 1486486"/>
              <a:gd name="connsiteY3" fmla="*/ 182880 h 182880"/>
              <a:gd name="connsiteX4" fmla="*/ 93784 w 1486486"/>
              <a:gd name="connsiteY4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486" h="182880">
                <a:moveTo>
                  <a:pt x="93784" y="0"/>
                </a:moveTo>
                <a:lnTo>
                  <a:pt x="1486486" y="4689"/>
                </a:lnTo>
                <a:lnTo>
                  <a:pt x="1486486" y="182880"/>
                </a:lnTo>
                <a:lnTo>
                  <a:pt x="0" y="182880"/>
                </a:lnTo>
                <a:lnTo>
                  <a:pt x="93784" y="0"/>
                </a:lnTo>
                <a:close/>
              </a:path>
            </a:pathLst>
          </a:cu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53BFFA-6BBD-49B4-9064-4686F5E9F31A}"/>
              </a:ext>
            </a:extLst>
          </p:cNvPr>
          <p:cNvSpPr/>
          <p:nvPr userDrawn="1"/>
        </p:nvSpPr>
        <p:spPr>
          <a:xfrm>
            <a:off x="10774687" y="1104773"/>
            <a:ext cx="136768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rPr>
              <a:t>Sensitive: NSW Government </a:t>
            </a: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charset="0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208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B561EF8-1224-43F9-9074-96C48F6BA22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3275" y="1853988"/>
            <a:ext cx="11010859" cy="3951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ACA4E-069D-4351-A086-47231CC096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0CBB9F-C8C0-42D7-BCE5-B450F1470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21149" y="6498723"/>
            <a:ext cx="41148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023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220F2C6-8AF7-425F-B8B5-FF6F932BD80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54"/>
            <a:ext cx="12192000" cy="6848892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719CB8DD-1BCE-42DC-8ED4-ADD932A9D3EE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19403" y="1814959"/>
            <a:ext cx="10363200" cy="1470025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694FC0A-2BEB-4EA0-A1B0-85FCC621DF6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719403" y="3908449"/>
            <a:ext cx="8160907" cy="88870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7C4B23-28BB-4788-A2E2-7C8731F00A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137" y="5121275"/>
            <a:ext cx="5299277" cy="4981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DD month 2020</a:t>
            </a:r>
          </a:p>
        </p:txBody>
      </p:sp>
    </p:spTree>
    <p:extLst>
      <p:ext uri="{BB962C8B-B14F-4D97-AF65-F5344CB8AC3E}">
        <p14:creationId xmlns:p14="http://schemas.microsoft.com/office/powerpoint/2010/main" val="20683484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2425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19234"/>
            <a:ext cx="360037" cy="365125"/>
          </a:xfr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61275"/>
            <a:ext cx="11382428" cy="424732"/>
          </a:xfrm>
          <a:prstGeom prst="rect">
            <a:avLst/>
          </a:prstGeom>
        </p:spPr>
        <p:txBody>
          <a:bodyPr/>
          <a:lstStyle>
            <a:lvl1pPr>
              <a:defRPr sz="2400" cap="none"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F53F58-309D-4528-837D-6EF4699846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9528" y="6197968"/>
            <a:ext cx="396860" cy="429038"/>
          </a:xfrm>
          <a:prstGeom prst="rect">
            <a:avLst/>
          </a:prstGeom>
        </p:spPr>
      </p:pic>
      <p:sp>
        <p:nvSpPr>
          <p:cNvPr id="11" name="Rectangle 6">
            <a:extLst>
              <a:ext uri="{FF2B5EF4-FFF2-40B4-BE49-F238E27FC236}">
                <a16:creationId xmlns:a16="http://schemas.microsoft.com/office/drawing/2014/main" id="{11248475-A22A-49B6-938B-5F38C8E70B7F}"/>
              </a:ext>
            </a:extLst>
          </p:cNvPr>
          <p:cNvSpPr/>
          <p:nvPr userDrawn="1"/>
        </p:nvSpPr>
        <p:spPr>
          <a:xfrm>
            <a:off x="10705514" y="1119923"/>
            <a:ext cx="1486486" cy="182880"/>
          </a:xfrm>
          <a:custGeom>
            <a:avLst/>
            <a:gdLst>
              <a:gd name="connsiteX0" fmla="*/ 0 w 1486486"/>
              <a:gd name="connsiteY0" fmla="*/ 0 h 178191"/>
              <a:gd name="connsiteX1" fmla="*/ 1486486 w 1486486"/>
              <a:gd name="connsiteY1" fmla="*/ 0 h 178191"/>
              <a:gd name="connsiteX2" fmla="*/ 1486486 w 1486486"/>
              <a:gd name="connsiteY2" fmla="*/ 178191 h 178191"/>
              <a:gd name="connsiteX3" fmla="*/ 0 w 1486486"/>
              <a:gd name="connsiteY3" fmla="*/ 178191 h 178191"/>
              <a:gd name="connsiteX4" fmla="*/ 0 w 1486486"/>
              <a:gd name="connsiteY4" fmla="*/ 0 h 178191"/>
              <a:gd name="connsiteX0" fmla="*/ 93784 w 1486486"/>
              <a:gd name="connsiteY0" fmla="*/ 0 h 182880"/>
              <a:gd name="connsiteX1" fmla="*/ 1486486 w 1486486"/>
              <a:gd name="connsiteY1" fmla="*/ 4689 h 182880"/>
              <a:gd name="connsiteX2" fmla="*/ 1486486 w 1486486"/>
              <a:gd name="connsiteY2" fmla="*/ 182880 h 182880"/>
              <a:gd name="connsiteX3" fmla="*/ 0 w 1486486"/>
              <a:gd name="connsiteY3" fmla="*/ 182880 h 182880"/>
              <a:gd name="connsiteX4" fmla="*/ 93784 w 1486486"/>
              <a:gd name="connsiteY4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486" h="182880">
                <a:moveTo>
                  <a:pt x="93784" y="0"/>
                </a:moveTo>
                <a:lnTo>
                  <a:pt x="1486486" y="4689"/>
                </a:lnTo>
                <a:lnTo>
                  <a:pt x="1486486" y="182880"/>
                </a:lnTo>
                <a:lnTo>
                  <a:pt x="0" y="182880"/>
                </a:lnTo>
                <a:lnTo>
                  <a:pt x="93784" y="0"/>
                </a:lnTo>
                <a:close/>
              </a:path>
            </a:pathLst>
          </a:cu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53BFFA-6BBD-49B4-9064-4686F5E9F31A}"/>
              </a:ext>
            </a:extLst>
          </p:cNvPr>
          <p:cNvSpPr/>
          <p:nvPr userDrawn="1"/>
        </p:nvSpPr>
        <p:spPr>
          <a:xfrm>
            <a:off x="10774687" y="1104773"/>
            <a:ext cx="136768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rPr>
              <a:t>Sensitive: NSW Government </a:t>
            </a: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charset="0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75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1C1630E-75DD-4988-B412-5BC99B5B5062}"/>
              </a:ext>
            </a:extLst>
          </p:cNvPr>
          <p:cNvSpPr/>
          <p:nvPr userDrawn="1"/>
        </p:nvSpPr>
        <p:spPr>
          <a:xfrm>
            <a:off x="-1" y="3330000"/>
            <a:ext cx="12192001" cy="3528000"/>
          </a:xfrm>
          <a:prstGeom prst="rect">
            <a:avLst/>
          </a:prstGeom>
          <a:solidFill>
            <a:srgbClr val="6300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6A6961-24E6-4839-AA27-A340B1809347}"/>
              </a:ext>
            </a:extLst>
          </p:cNvPr>
          <p:cNvSpPr/>
          <p:nvPr userDrawn="1"/>
        </p:nvSpPr>
        <p:spPr>
          <a:xfrm>
            <a:off x="-1" y="0"/>
            <a:ext cx="12192001" cy="156600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7A2D9F-61E4-43DD-AEE4-7DB03212C80F}"/>
              </a:ext>
            </a:extLst>
          </p:cNvPr>
          <p:cNvSpPr/>
          <p:nvPr userDrawn="1"/>
        </p:nvSpPr>
        <p:spPr>
          <a:xfrm>
            <a:off x="-1" y="1566000"/>
            <a:ext cx="12192001" cy="176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3600000"/>
            <a:ext cx="7200000" cy="2387600"/>
          </a:xfrm>
          <a:ln>
            <a:noFill/>
          </a:ln>
        </p:spPr>
        <p:txBody>
          <a:bodyPr anchor="t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33BD13-5953-47AF-A601-951A768FED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999" y="1908000"/>
            <a:ext cx="7200000" cy="1089583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C49F10D-4964-4C13-BDFD-A701813832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444000"/>
            <a:ext cx="450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400">
                <a:solidFill>
                  <a:schemeClr val="bg1"/>
                </a:solidFill>
                <a:latin typeface="Public Sans SemiBold" pitchFamily="2" charset="0"/>
              </a:defRPr>
            </a:lvl1pPr>
          </a:lstStyle>
          <a:p>
            <a:r>
              <a:rPr lang="en-US"/>
              <a:t>Descriptor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EDD08B-0E5C-4DF0-9C56-CC522D170E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78925" y="4071600"/>
            <a:ext cx="2778613" cy="2786400"/>
          </a:xfrm>
        </p:spPr>
        <p:txBody>
          <a:bodyPr anchor="b">
            <a:noAutofit/>
          </a:bodyPr>
          <a:lstStyle>
            <a:lvl1pPr algn="r">
              <a:lnSpc>
                <a:spcPct val="80000"/>
              </a:lnSpc>
              <a:spcAft>
                <a:spcPts val="0"/>
              </a:spcAft>
              <a:defRPr sz="19000">
                <a:solidFill>
                  <a:schemeClr val="bg1"/>
                </a:solidFill>
                <a:latin typeface="Public Sans ExtraLight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10" name="Picture 9" descr="NSW Government logo">
            <a:extLst>
              <a:ext uri="{FF2B5EF4-FFF2-40B4-BE49-F238E27FC236}">
                <a16:creationId xmlns:a16="http://schemas.microsoft.com/office/drawing/2014/main" id="{4614E832-4BCC-4853-BB8C-E93D74BE52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1200" y="360000"/>
            <a:ext cx="630000" cy="68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873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4104000"/>
            <a:ext cx="10242886" cy="1009606"/>
          </a:xfrm>
          <a:ln>
            <a:noFill/>
          </a:ln>
        </p:spPr>
        <p:txBody>
          <a:bodyPr anchor="t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Divider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33BD13-5953-47AF-A601-951A768FED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652000"/>
            <a:ext cx="10242886" cy="523717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C49F10D-4964-4C13-BDFD-A701813832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444000"/>
            <a:ext cx="450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400">
                <a:solidFill>
                  <a:schemeClr val="bg2"/>
                </a:solidFill>
                <a:latin typeface="Public Sans SemiBold" pitchFamily="2" charset="0"/>
              </a:defRPr>
            </a:lvl1pPr>
          </a:lstStyle>
          <a:p>
            <a:r>
              <a:rPr lang="en-US"/>
              <a:t>Descriptor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EDD08B-0E5C-4DF0-9C56-CC522D170E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360000"/>
            <a:ext cx="2778613" cy="2786400"/>
          </a:xfr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19000">
                <a:solidFill>
                  <a:schemeClr val="bg2"/>
                </a:solidFill>
                <a:latin typeface="Public Sans ExtraLight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40FCFB7-2251-4DE7-B878-A07B57992F00}"/>
              </a:ext>
            </a:extLst>
          </p:cNvPr>
          <p:cNvCxnSpPr>
            <a:cxnSpLocks/>
          </p:cNvCxnSpPr>
          <p:nvPr userDrawn="1"/>
        </p:nvCxnSpPr>
        <p:spPr>
          <a:xfrm>
            <a:off x="360000" y="360000"/>
            <a:ext cx="0" cy="59760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NSW Government logo">
            <a:extLst>
              <a:ext uri="{FF2B5EF4-FFF2-40B4-BE49-F238E27FC236}">
                <a16:creationId xmlns:a16="http://schemas.microsoft.com/office/drawing/2014/main" id="{27C4C535-7E4B-4B48-BCD8-F680CCDFEE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1200" y="360000"/>
            <a:ext cx="630000" cy="68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8495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03A8E2-73B2-4BCE-A537-BD98BFA45482}"/>
              </a:ext>
            </a:extLst>
          </p:cNvPr>
          <p:cNvSpPr/>
          <p:nvPr userDrawn="1"/>
        </p:nvSpPr>
        <p:spPr>
          <a:xfrm>
            <a:off x="0" y="1602000"/>
            <a:ext cx="12192000" cy="525600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9720000" cy="10096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60000" y="6444000"/>
            <a:ext cx="6720000" cy="252000"/>
          </a:xfrm>
        </p:spPr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7458" y="6516000"/>
            <a:ext cx="490542" cy="180000"/>
          </a:xfrm>
        </p:spPr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F8D9268B-FAD5-4A3C-B190-A50230A1D12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60363" y="1800001"/>
            <a:ext cx="11447462" cy="4409998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65172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9720000" cy="10096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F8D9268B-FAD5-4A3C-B190-A50230A1D12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60363" y="1620000"/>
            <a:ext cx="11447462" cy="4500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0572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9720000" cy="10096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scriptor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1DC5-1685-4615-8240-15192985C6A2}" type="slidenum">
              <a:rPr lang="en-AU" smtClean="0"/>
              <a:t>‹#›</a:t>
            </a:fld>
            <a:endParaRPr lang="en-A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DEA8E5D-F9A7-48AC-AF91-6754515E9D1B}"/>
              </a:ext>
            </a:extLst>
          </p:cNvPr>
          <p:cNvCxnSpPr/>
          <p:nvPr userDrawn="1"/>
        </p:nvCxnSpPr>
        <p:spPr>
          <a:xfrm>
            <a:off x="360000" y="1548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D7C65C-44E2-4933-BFBB-90BBEEAAAC45}"/>
              </a:ext>
            </a:extLst>
          </p:cNvPr>
          <p:cNvCxnSpPr/>
          <p:nvPr userDrawn="1"/>
        </p:nvCxnSpPr>
        <p:spPr>
          <a:xfrm>
            <a:off x="360000" y="6300000"/>
            <a:ext cx="1147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076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9720000" cy="100965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00000"/>
            <a:ext cx="11448000" cy="43513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0000" y="6444000"/>
            <a:ext cx="6720000" cy="25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400">
                <a:solidFill>
                  <a:schemeClr val="bg2"/>
                </a:solidFill>
                <a:latin typeface="Public Sans SemiBold" pitchFamily="2" charset="0"/>
              </a:defRPr>
            </a:lvl1pPr>
          </a:lstStyle>
          <a:p>
            <a:r>
              <a:rPr lang="en-US"/>
              <a:t>Descriptor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7458" y="6516000"/>
            <a:ext cx="490542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10A01DC5-1685-4615-8240-15192985C6A2}" type="slidenum">
              <a:rPr lang="en-AU" smtClean="0"/>
              <a:pPr/>
              <a:t>‹#›</a:t>
            </a:fld>
            <a:endParaRPr lang="en-AU"/>
          </a:p>
        </p:txBody>
      </p:sp>
      <p:pic>
        <p:nvPicPr>
          <p:cNvPr id="8" name="Picture 7" descr="NSW Government logo">
            <a:extLst>
              <a:ext uri="{FF2B5EF4-FFF2-40B4-BE49-F238E27FC236}">
                <a16:creationId xmlns:a16="http://schemas.microsoft.com/office/drawing/2014/main" id="{CCBF5FED-71CD-4122-8BE4-CA4C03A99224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1200" y="360000"/>
            <a:ext cx="630000" cy="68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316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68" r:id="rId3"/>
    <p:sldLayoutId id="2147483671" r:id="rId4"/>
    <p:sldLayoutId id="2147483673" r:id="rId5"/>
    <p:sldLayoutId id="2147483674" r:id="rId6"/>
    <p:sldLayoutId id="2147483675" r:id="rId7"/>
    <p:sldLayoutId id="2147483676" r:id="rId8"/>
    <p:sldLayoutId id="2147483662" r:id="rId9"/>
    <p:sldLayoutId id="2147483672" r:id="rId10"/>
    <p:sldLayoutId id="2147483677" r:id="rId11"/>
    <p:sldLayoutId id="2147483678" r:id="rId12"/>
    <p:sldLayoutId id="2147483664" r:id="rId13"/>
    <p:sldLayoutId id="2147483684" r:id="rId14"/>
    <p:sldLayoutId id="2147483679" r:id="rId15"/>
    <p:sldLayoutId id="2147483687" r:id="rId16"/>
    <p:sldLayoutId id="2147483680" r:id="rId17"/>
    <p:sldLayoutId id="2147483681" r:id="rId18"/>
    <p:sldLayoutId id="2147483682" r:id="rId19"/>
    <p:sldLayoutId id="2147483683" r:id="rId20"/>
    <p:sldLayoutId id="2147483685" r:id="rId21"/>
    <p:sldLayoutId id="2147483686" r:id="rId22"/>
    <p:sldLayoutId id="2147483665" r:id="rId23"/>
    <p:sldLayoutId id="2147483666" r:id="rId24"/>
    <p:sldLayoutId id="2147483667" r:id="rId25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Public Sans SemiBold" pitchFamily="2" charset="0"/>
          <a:ea typeface="+mn-ea"/>
          <a:cs typeface="+mn-cs"/>
        </a:defRPr>
      </a:lvl2pPr>
      <a:lvl3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-1800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Times New Roman" panose="02020603050405020304" pitchFamily="18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D5D7ED-8994-46DD-BD45-55F4757BFE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21149" y="6498723"/>
            <a:ext cx="41148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E48C10-414B-4AC4-8219-36F310C714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2344" y="649872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038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396000" indent="-108000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>
          <p15:clr>
            <a:srgbClr val="F26B43"/>
          </p15:clr>
        </p15:guide>
        <p15:guide id="2" orient="horz" pos="346">
          <p15:clr>
            <a:srgbClr val="F26B43"/>
          </p15:clr>
        </p15:guide>
        <p15:guide id="3" pos="7310">
          <p15:clr>
            <a:srgbClr val="F26B43"/>
          </p15:clr>
        </p15:guide>
        <p15:guide id="5" orient="horz" pos="4178">
          <p15:clr>
            <a:srgbClr val="F26B43"/>
          </p15:clr>
        </p15:guide>
        <p15:guide id="6" orient="horz" pos="3657">
          <p15:clr>
            <a:srgbClr val="F26B43"/>
          </p15:clr>
        </p15:guide>
        <p15:guide id="7" orient="horz" pos="686">
          <p15:clr>
            <a:srgbClr val="F26B43"/>
          </p15:clr>
        </p15:guide>
        <p15:guide id="8" orient="horz" pos="1026">
          <p15:clr>
            <a:srgbClr val="F26B43"/>
          </p15:clr>
        </p15:guide>
        <p15:guide id="9" orient="horz" pos="2636">
          <p15:clr>
            <a:srgbClr val="F26B43"/>
          </p15:clr>
        </p15:guide>
        <p15:guide id="10" orient="horz" pos="2840">
          <p15:clr>
            <a:srgbClr val="F26B43"/>
          </p15:clr>
        </p15:guide>
        <p15:guide id="11" pos="3840">
          <p15:clr>
            <a:srgbClr val="F26B43"/>
          </p15:clr>
        </p15:guide>
        <p15:guide id="12" pos="47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soundcloud.com/nsw-mns-nembc/macedonian-nsw-managing-covid?in=nsw-mns-nembc/sets/managing-covid-19-at-home-explainer-preparing-for-self-isolation" TargetMode="External"/><Relationship Id="rId13" Type="http://schemas.openxmlformats.org/officeDocument/2006/relationships/image" Target="../media/image22.jpeg"/><Relationship Id="rId3" Type="http://schemas.openxmlformats.org/officeDocument/2006/relationships/hyperlink" Target="https://soundcloud.com/nsw-mns-nembc/arabic-nsw-managing-covid-19-at-home-explainer-preparing-for-self-isolation?in=nsw-mns-nembc/sets/managing-covid-19-at-home-explainer-preparing-for-self-isolation" TargetMode="External"/><Relationship Id="rId7" Type="http://schemas.openxmlformats.org/officeDocument/2006/relationships/hyperlink" Target="https://soundcloud.com/nsw-mns-nembc/italian-nsw-managing-covid-19-at-home-explainer-preparing-for-self-isolation?in=nsw-mns-nembc/sets/managing-covid-19-at-home-explainer-preparing-for-self-isolation" TargetMode="External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soundcloud.com/nsw-mns-nembc/croatian-nsw-managing-covid-19-at-home-explainer-preparing-for-self-isolation?in=nsw-mns-nembc/sets/managing-covid-19-at-home-explainer-preparing-for-self-isolation" TargetMode="External"/><Relationship Id="rId11" Type="http://schemas.openxmlformats.org/officeDocument/2006/relationships/hyperlink" Target="https://soundcloud.com/nsw-mns-nembc/vietnamese-nsw-managing-covid-19-at-home-explainer-preparing-for-self-isolation?in=nsw-mns-nembc/sets/managing-covid-19-at-home-explainer-preparing-for-self-isolation" TargetMode="External"/><Relationship Id="rId5" Type="http://schemas.openxmlformats.org/officeDocument/2006/relationships/hyperlink" Target="https://soundcloud.com/nsw-mns-nembc/bosnian-nsw-managing-covid-19-at-home-explainer-preparing-for-self-isolation?in=nsw-mns-nembc/sets/managing-covid-19-at-home-explainer-preparing-for-self-isolation" TargetMode="External"/><Relationship Id="rId15" Type="http://schemas.openxmlformats.org/officeDocument/2006/relationships/hyperlink" Target="https://www.health.nsw.gov.au/Infectious/covid-19/Pages/translated/topic-isolation.aspx" TargetMode="External"/><Relationship Id="rId10" Type="http://schemas.openxmlformats.org/officeDocument/2006/relationships/hyperlink" Target="https://soundcloud.com/nsw-mns-nembc/spanish-nsw-managing-covid-19-at-home-explainer-preparing-for-self-isolation?in=nsw-mns-nembc/sets/managing-covid-19-at-home-explainer-preparing-for-self-isolation" TargetMode="External"/><Relationship Id="rId4" Type="http://schemas.openxmlformats.org/officeDocument/2006/relationships/hyperlink" Target="https://soundcloud.com/nsw-mns-nembc/assyrian-nsw-managing-covid-19-at-home-explainer-preparing-for-self-isolation?in=nsw-mns-nembc/sets/managing-covid-19-at-home-explainer-preparing-for-self-isolation" TargetMode="External"/><Relationship Id="rId9" Type="http://schemas.openxmlformats.org/officeDocument/2006/relationships/hyperlink" Target="https://soundcloud.com/nsw-mns-nembc/mandarin-nsw-managing-covid-19?in=nsw-mns-nembc/sets/managing-covid-19-at-home-explainer-preparing-for-self-isolation" TargetMode="External"/><Relationship Id="rId1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ealth.nsw.gov.au/Infectious/covid-19/Documents/how-to-isolate-tc.pdf" TargetMode="External"/><Relationship Id="rId13" Type="http://schemas.openxmlformats.org/officeDocument/2006/relationships/hyperlink" Target="https://www.health.nsw.gov.au/Infectious/covid-19/Documents/how-do-i-self-isolate-hindi.pdf" TargetMode="External"/><Relationship Id="rId18" Type="http://schemas.openxmlformats.org/officeDocument/2006/relationships/hyperlink" Target="https://www.health.nsw.gov.au/Infectious/covid-19/Documents/how-to-isolate-nepali.pdf" TargetMode="External"/><Relationship Id="rId26" Type="http://schemas.openxmlformats.org/officeDocument/2006/relationships/image" Target="../media/image26.png"/><Relationship Id="rId3" Type="http://schemas.openxmlformats.org/officeDocument/2006/relationships/image" Target="../media/image24.png"/><Relationship Id="rId21" Type="http://schemas.openxmlformats.org/officeDocument/2006/relationships/hyperlink" Target="https://www.health.nsw.gov.au/Infectious/covid-19/Documents/how-to-isolate-spanish.pdf" TargetMode="External"/><Relationship Id="rId7" Type="http://schemas.openxmlformats.org/officeDocument/2006/relationships/hyperlink" Target="https://www.health.nsw.gov.au/Infectious/covid-19/Documents/how-to-isolate-sc.pdf" TargetMode="External"/><Relationship Id="rId12" Type="http://schemas.openxmlformats.org/officeDocument/2006/relationships/hyperlink" Target="https://www.health.nsw.gov.au/Infectious/covid-19/Documents/how-to-isolate-greek.pdf" TargetMode="External"/><Relationship Id="rId17" Type="http://schemas.openxmlformats.org/officeDocument/2006/relationships/hyperlink" Target="https://www.health.nsw.gov.au/Infectious/factsheets/Factsheets/how-do-I-self-isolate-lao.pdf" TargetMode="External"/><Relationship Id="rId25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6" Type="http://schemas.openxmlformats.org/officeDocument/2006/relationships/hyperlink" Target="https://www.health.nsw.gov.au/Infectious/covid-19/Documents/how-to-isolate-korean.pdf" TargetMode="External"/><Relationship Id="rId20" Type="http://schemas.openxmlformats.org/officeDocument/2006/relationships/hyperlink" Target="https://www.health.nsw.gov.au/Infectious/factsheets/Factsheets/how-do-I-self-isolate-samoan.pdf" TargetMode="Externa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health.nsw.gov.au/Infectious/covid-19/Documents/how-to-isolate-bangla.pdf" TargetMode="External"/><Relationship Id="rId11" Type="http://schemas.openxmlformats.org/officeDocument/2006/relationships/hyperlink" Target="https://www.health.nsw.gov.au/Infectious/covid-19/Documents/how-to-isolate-farsi.pdf" TargetMode="External"/><Relationship Id="rId24" Type="http://schemas.openxmlformats.org/officeDocument/2006/relationships/hyperlink" Target="https://www.health.nsw.gov.au/Infectious/covid-19/Documents/how-do-i-self-isolate-vietnamese.pdf" TargetMode="External"/><Relationship Id="rId5" Type="http://schemas.openxmlformats.org/officeDocument/2006/relationships/hyperlink" Target="https://www.health.nsw.gov.au/Infectious/covid-19/Documents/how-to-isolate-assyrian.pdf" TargetMode="External"/><Relationship Id="rId15" Type="http://schemas.openxmlformats.org/officeDocument/2006/relationships/hyperlink" Target="https://www.health.nsw.gov.au/Infectious/covid-19/Documents/how-to-isolate-khmer.pdf" TargetMode="External"/><Relationship Id="rId23" Type="http://schemas.openxmlformats.org/officeDocument/2006/relationships/hyperlink" Target="https://www.health.nsw.gov.au/Infectious/covid-19/Documents/how-do-i-self-isolate-tongan.pdf" TargetMode="External"/><Relationship Id="rId10" Type="http://schemas.openxmlformats.org/officeDocument/2006/relationships/hyperlink" Target="https://www.health.nsw.gov.au/Infectious/covid-19/Publications/self-isolate-infographic.pdf" TargetMode="External"/><Relationship Id="rId19" Type="http://schemas.openxmlformats.org/officeDocument/2006/relationships/hyperlink" Target="https://www.health.nsw.gov.au/Infectious/covid-19/Documents/how-do-i-self-isolate-punjabi.pdf" TargetMode="External"/><Relationship Id="rId4" Type="http://schemas.openxmlformats.org/officeDocument/2006/relationships/hyperlink" Target="https://www.health.nsw.gov.au/Infectious/covid-19/Documents/how-to-isolate-arabic.pdf" TargetMode="External"/><Relationship Id="rId9" Type="http://schemas.openxmlformats.org/officeDocument/2006/relationships/hyperlink" Target="https://www.health.nsw.gov.au/Infectious/covid-19/Documents/translated/how-do-i-self-isolate-dari.pdf" TargetMode="External"/><Relationship Id="rId14" Type="http://schemas.openxmlformats.org/officeDocument/2006/relationships/hyperlink" Target="https://www.health.nsw.gov.au/Infectious/covid-19/Documents/how-to-isolate-italian.pdf" TargetMode="External"/><Relationship Id="rId22" Type="http://schemas.openxmlformats.org/officeDocument/2006/relationships/hyperlink" Target="https://www.health.nsw.gov.au/Infectious/covid-19/Documents/how-do-i-self-isolate-thai.pdf" TargetMode="External"/><Relationship Id="rId27" Type="http://schemas.openxmlformats.org/officeDocument/2006/relationships/hyperlink" Target="https://www.health.nsw.gov.au/Infectious/covid-19/Pages/translated/topic-isolation.aspx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K2xtmBw1BpY" TargetMode="External"/><Relationship Id="rId13" Type="http://schemas.openxmlformats.org/officeDocument/2006/relationships/hyperlink" Target="https://www.youtube.com/watch?v=5A1ynEShOGE" TargetMode="External"/><Relationship Id="rId18" Type="http://schemas.openxmlformats.org/officeDocument/2006/relationships/hyperlink" Target="https://www.youtube.com/watch?v=yylwEk4CnE4" TargetMode="External"/><Relationship Id="rId3" Type="http://schemas.openxmlformats.org/officeDocument/2006/relationships/hyperlink" Target="https://www.youtube.com/watch?v=NbSXfzqE9Z8" TargetMode="External"/><Relationship Id="rId21" Type="http://schemas.openxmlformats.org/officeDocument/2006/relationships/hyperlink" Target="https://www.youtube.com/watch?v=v9EXrwXAvBY" TargetMode="External"/><Relationship Id="rId7" Type="http://schemas.openxmlformats.org/officeDocument/2006/relationships/hyperlink" Target="https://www.youtube.com/watch?v=bPP0q8drYPM" TargetMode="External"/><Relationship Id="rId12" Type="http://schemas.openxmlformats.org/officeDocument/2006/relationships/hyperlink" Target="https://www.youtube.com/watch?v=0_kF3skN5Pk" TargetMode="External"/><Relationship Id="rId17" Type="http://schemas.openxmlformats.org/officeDocument/2006/relationships/hyperlink" Target="https://www.youtube.com/watch?v=JaDiwnDnphU" TargetMode="External"/><Relationship Id="rId2" Type="http://schemas.openxmlformats.org/officeDocument/2006/relationships/image" Target="../media/image27.jpeg"/><Relationship Id="rId16" Type="http://schemas.openxmlformats.org/officeDocument/2006/relationships/hyperlink" Target="https://www.youtube.com/watch?v=RqA_x7Z06fY" TargetMode="External"/><Relationship Id="rId20" Type="http://schemas.openxmlformats.org/officeDocument/2006/relationships/hyperlink" Target="https://www.youtube.com/watch?v=_Ndl9JiAK2Y" TargetMode="Externa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youtube.com/watch?v=ZhfFttPRnrc&amp;t=2s" TargetMode="External"/><Relationship Id="rId11" Type="http://schemas.openxmlformats.org/officeDocument/2006/relationships/hyperlink" Target="https://www.youtube.com/watch?v=JZXh3FdVi0A" TargetMode="External"/><Relationship Id="rId5" Type="http://schemas.openxmlformats.org/officeDocument/2006/relationships/hyperlink" Target="https://www.youtube.com/watch?v=eki85S_2q6c" TargetMode="External"/><Relationship Id="rId15" Type="http://schemas.openxmlformats.org/officeDocument/2006/relationships/hyperlink" Target="https://www.youtube.com/watch?v=Ao1E5BoSghk" TargetMode="External"/><Relationship Id="rId23" Type="http://schemas.openxmlformats.org/officeDocument/2006/relationships/hyperlink" Target="https://www.health.nsw.gov.au/Infectious/covid-19/Pages/translated/topic-testing.aspx" TargetMode="External"/><Relationship Id="rId10" Type="http://schemas.openxmlformats.org/officeDocument/2006/relationships/hyperlink" Target="https://www.youtube.com/watch?v=tokZjzqOcFg&amp;list=PLPghj3nsClp1K8QPCf60UA_5mowrXhGG0&amp;index=16" TargetMode="External"/><Relationship Id="rId19" Type="http://schemas.openxmlformats.org/officeDocument/2006/relationships/hyperlink" Target="https://www.youtube.com/watch?v=hT2tRUEOiVE" TargetMode="External"/><Relationship Id="rId4" Type="http://schemas.openxmlformats.org/officeDocument/2006/relationships/hyperlink" Target="https://www.youtube.com/watch?v=GIoiS43kUIA" TargetMode="External"/><Relationship Id="rId9" Type="http://schemas.openxmlformats.org/officeDocument/2006/relationships/hyperlink" Target="https://www.youtube.com/watch?v=jrGUfzL4s9I" TargetMode="External"/><Relationship Id="rId14" Type="http://schemas.openxmlformats.org/officeDocument/2006/relationships/hyperlink" Target="https://www.youtube.com/watch?v=Gd9y95R5LqU" TargetMode="External"/><Relationship Id="rId22" Type="http://schemas.openxmlformats.org/officeDocument/2006/relationships/hyperlink" Target="https://www.youtube.com/watch?v=ufWtcIQdy-4&amp;list=PLPghj3nsClp1K8QPCf60UA_5mowrXhGG0&amp;index=8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sw.gov.au/covid-19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hyperlink" Target="https://www.health.nsw.gov.au/Infectious/covid-19/Pages/translated/topic-vaccination.aspx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youtube.com/watch?v=Fa5n-dAjR1Q" TargetMode="External"/><Relationship Id="rId5" Type="http://schemas.openxmlformats.org/officeDocument/2006/relationships/hyperlink" Target="https://www.youtube.com/watch?v=w5aMvBbdT-c&amp;list=PLPghj3nsClp34MKLIhvZaxMtj0SmMKZ3d&amp;index=2" TargetMode="External"/><Relationship Id="rId4" Type="http://schemas.openxmlformats.org/officeDocument/2006/relationships/hyperlink" Target="https://www.youtube.com/watch?v=9q2Vbn__geQ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DCrYyKWzcEU" TargetMode="External"/><Relationship Id="rId13" Type="http://schemas.openxmlformats.org/officeDocument/2006/relationships/hyperlink" Target="https://www.youtube.com/watch?v=aDZrH5I3Q3c" TargetMode="External"/><Relationship Id="rId3" Type="http://schemas.openxmlformats.org/officeDocument/2006/relationships/image" Target="../media/image13.jpeg"/><Relationship Id="rId7" Type="http://schemas.openxmlformats.org/officeDocument/2006/relationships/hyperlink" Target="https://www.youtube.com/watch?v=TYALGmwtERc" TargetMode="External"/><Relationship Id="rId12" Type="http://schemas.openxmlformats.org/officeDocument/2006/relationships/hyperlink" Target="https://www.youtube.com/watch?v=MQqAkBUIH5Y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youtube.com/watch?v=LlK8srLHllk" TargetMode="External"/><Relationship Id="rId11" Type="http://schemas.openxmlformats.org/officeDocument/2006/relationships/hyperlink" Target="https://www.youtube.com/watch?v=4zJ0cHyz5d0" TargetMode="External"/><Relationship Id="rId5" Type="http://schemas.openxmlformats.org/officeDocument/2006/relationships/hyperlink" Target="https://www.youtube.com/watch?v=Yk1kPeovpnY" TargetMode="External"/><Relationship Id="rId10" Type="http://schemas.openxmlformats.org/officeDocument/2006/relationships/hyperlink" Target="https://www.youtube.com/watch?v=-XRlLajKNmE" TargetMode="External"/><Relationship Id="rId4" Type="http://schemas.openxmlformats.org/officeDocument/2006/relationships/hyperlink" Target="https://www.youtube.com/watch?v=sI5K7jsNQao" TargetMode="External"/><Relationship Id="rId9" Type="http://schemas.openxmlformats.org/officeDocument/2006/relationships/hyperlink" Target="https://www.youtube.com/watch?v=bpDFIpPSP0Y" TargetMode="External"/><Relationship Id="rId14" Type="http://schemas.openxmlformats.org/officeDocument/2006/relationships/hyperlink" Target="https://www.health.nsw.gov.au/Infectious/covid-19/Pages/translated/topic-vaccination.aspx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health.nsw.gov.au/Infectious/covid-19/Documents/translated/information-for-people-exposed-to-covid-farsi.pdf" TargetMode="External"/><Relationship Id="rId18" Type="http://schemas.openxmlformats.org/officeDocument/2006/relationships/hyperlink" Target="https://www.health.nsw.gov.au/Infectious/covid-19/Documents/translated/information-for-people-exposed-to-covid-gujarati.pdf" TargetMode="External"/><Relationship Id="rId26" Type="http://schemas.openxmlformats.org/officeDocument/2006/relationships/hyperlink" Target="https://www.health.nsw.gov.au/Infectious/covid-19/Documents/translated/information-for-people-exposed-to-covid-korean.pdf" TargetMode="External"/><Relationship Id="rId39" Type="http://schemas.openxmlformats.org/officeDocument/2006/relationships/hyperlink" Target="https://www.health.nsw.gov.au/Infectious/covid-19/Documents/translated/information-for-people-exposed-to-covid-sinhalese.pdf" TargetMode="External"/><Relationship Id="rId21" Type="http://schemas.openxmlformats.org/officeDocument/2006/relationships/hyperlink" Target="https://www.health.nsw.gov.au/Infectious/covid-19/Documents/translated/information-for-people-exposed-to-covid-hungarian.pdf" TargetMode="External"/><Relationship Id="rId34" Type="http://schemas.openxmlformats.org/officeDocument/2006/relationships/hyperlink" Target="https://www.health.nsw.gov.au/Infectious/covid-19/Documents/translated/information-for-people-exposed-to-covid-polish.pdf" TargetMode="External"/><Relationship Id="rId42" Type="http://schemas.openxmlformats.org/officeDocument/2006/relationships/hyperlink" Target="https://www.health.nsw.gov.au/Infectious/covid-19/Documents/translated/information-for-people-exposed-to-covid-swahili.pdf" TargetMode="External"/><Relationship Id="rId47" Type="http://schemas.openxmlformats.org/officeDocument/2006/relationships/hyperlink" Target="https://www.health.nsw.gov.au/Infectious/covid-19/Documents/translated/information-for-people-exposed-to-covid-urdu.pdf" TargetMode="External"/><Relationship Id="rId50" Type="http://schemas.openxmlformats.org/officeDocument/2006/relationships/image" Target="../media/image15.png"/><Relationship Id="rId7" Type="http://schemas.openxmlformats.org/officeDocument/2006/relationships/hyperlink" Target="https://www.health.nsw.gov.au/Infectious/covid-19/Documents/translated/information-for-people-exposed-to-covid-bengali.pdf" TargetMode="External"/><Relationship Id="rId2" Type="http://schemas.openxmlformats.org/officeDocument/2006/relationships/notesSlide" Target="../notesSlides/notesSlide3.xml"/><Relationship Id="rId16" Type="http://schemas.openxmlformats.org/officeDocument/2006/relationships/hyperlink" Target="https://www.health.nsw.gov.au/Infectious/covid-19/Documents/translated/information-for-people-exposed-to-covid-german.pdf" TargetMode="External"/><Relationship Id="rId29" Type="http://schemas.openxmlformats.org/officeDocument/2006/relationships/hyperlink" Target="https://www.health.nsw.gov.au/Infectious/covid-19/Documents/translated/information-for-people-exposed-to-covid-lao.pdf" TargetMode="External"/><Relationship Id="rId11" Type="http://schemas.openxmlformats.org/officeDocument/2006/relationships/hyperlink" Target="https://www.health.nsw.gov.au/Infectious/covid-19/Documents/translated/information-for-people-exposed-to-covid-dari.pdf" TargetMode="External"/><Relationship Id="rId24" Type="http://schemas.openxmlformats.org/officeDocument/2006/relationships/hyperlink" Target="https://www.health.nsw.gov.au/Infectious/covid-19/Documents/translated/information-for-people-exposed-to-covid-khmer.pdf" TargetMode="External"/><Relationship Id="rId32" Type="http://schemas.openxmlformats.org/officeDocument/2006/relationships/hyperlink" Target="https://www.health.nsw.gov.au/Infectious/covid-19/Documents/translated/information-for-people-exposed-to-covid-mongolian.pdf" TargetMode="External"/><Relationship Id="rId37" Type="http://schemas.openxmlformats.org/officeDocument/2006/relationships/hyperlink" Target="https://www.health.nsw.gov.au/Infectious/covid-19/Documents/translated/information-for-people-exposed-to-covid-rohingya.pdf" TargetMode="External"/><Relationship Id="rId40" Type="http://schemas.openxmlformats.org/officeDocument/2006/relationships/hyperlink" Target="https://www.health.nsw.gov.au/Infectious/covid-19/Documents/translated/information-for-people-exposed-to-covid-somali.pdf" TargetMode="External"/><Relationship Id="rId45" Type="http://schemas.openxmlformats.org/officeDocument/2006/relationships/hyperlink" Target="https://www.health.nsw.gov.au/Infectious/covid-19/Documents/translated/information-for-people-exposed-to-covid-tibetan.pdf" TargetMode="External"/><Relationship Id="rId5" Type="http://schemas.openxmlformats.org/officeDocument/2006/relationships/hyperlink" Target="https://www.health.nsw.gov.au/Infectious/covid-19/Documents/translated/information-for-people-exposed-to-covid-armenian.pdf" TargetMode="External"/><Relationship Id="rId15" Type="http://schemas.openxmlformats.org/officeDocument/2006/relationships/hyperlink" Target="https://www.health.nsw.gov.au/Infectious/covid-19/Documents/translated/information-for-people-exposed-to-covid-french.pdf" TargetMode="External"/><Relationship Id="rId23" Type="http://schemas.openxmlformats.org/officeDocument/2006/relationships/hyperlink" Target="https://www.health.nsw.gov.au/Infectious/covid-19/Documents/translated/information-for-people-exposed-to-covid-japanese.pdf" TargetMode="External"/><Relationship Id="rId28" Type="http://schemas.openxmlformats.org/officeDocument/2006/relationships/hyperlink" Target="https://www.health.nsw.gov.au/Infectious/covid-19/Documents/translated/information-for-people-exposed-to-covid-kurdish-sorani.pdf" TargetMode="External"/><Relationship Id="rId36" Type="http://schemas.openxmlformats.org/officeDocument/2006/relationships/hyperlink" Target="https://www.health.nsw.gov.au/Infectious/covid-19/Documents/translated/information-for-people-exposed-to-covid-russian.pdf" TargetMode="External"/><Relationship Id="rId49" Type="http://schemas.openxmlformats.org/officeDocument/2006/relationships/image" Target="../media/image14.png"/><Relationship Id="rId10" Type="http://schemas.openxmlformats.org/officeDocument/2006/relationships/hyperlink" Target="https://www.health.nsw.gov.au/Infectious/covid-19/Documents/translated/information-for-people-exposed-to-covid-ct.pdf" TargetMode="External"/><Relationship Id="rId19" Type="http://schemas.openxmlformats.org/officeDocument/2006/relationships/hyperlink" Target="https://www.health.nsw.gov.au/Infectious/covid-19/Documents/translated/information-for-people-exposed-to-covid-hebrew.pdf" TargetMode="External"/><Relationship Id="rId31" Type="http://schemas.openxmlformats.org/officeDocument/2006/relationships/hyperlink" Target="https://www.health.nsw.gov.au/Infectious/covid-19/Documents/translated/information-for-people-exposed-to-covid-malayalam.pdf" TargetMode="External"/><Relationship Id="rId44" Type="http://schemas.openxmlformats.org/officeDocument/2006/relationships/hyperlink" Target="https://www.health.nsw.gov.au/Infectious/covid-19/Documents/translated/information-for-people-exposed-to-covid-thai.pdf" TargetMode="External"/><Relationship Id="rId52" Type="http://schemas.openxmlformats.org/officeDocument/2006/relationships/hyperlink" Target="https://www.health.nsw.gov.au/Infectious/covid-19/Pages/translated/topic-isolation.aspx" TargetMode="External"/><Relationship Id="rId4" Type="http://schemas.openxmlformats.org/officeDocument/2006/relationships/hyperlink" Target="https://www.health.nsw.gov.au/Infectious/covid-19/Documents/translated/information-for-people-exposed-to-covid-arabic.pdf" TargetMode="External"/><Relationship Id="rId9" Type="http://schemas.openxmlformats.org/officeDocument/2006/relationships/hyperlink" Target="https://www.health.nsw.gov.au/Infectious/covid-19/Documents/translated/information-for-people-exposed-to-covid-cs.pdf" TargetMode="External"/><Relationship Id="rId14" Type="http://schemas.openxmlformats.org/officeDocument/2006/relationships/hyperlink" Target="https://www.health.nsw.gov.au/Infectious/covid-19/Documents/translated/information-for-people-exposed-to-covid-filipino.pdf" TargetMode="External"/><Relationship Id="rId22" Type="http://schemas.openxmlformats.org/officeDocument/2006/relationships/hyperlink" Target="https://www.health.nsw.gov.au/Infectious/covid-19/Documents/translated/information-for-people-exposed-to-covid-indonesian.pdf" TargetMode="External"/><Relationship Id="rId27" Type="http://schemas.openxmlformats.org/officeDocument/2006/relationships/hyperlink" Target="https://www.health.nsw.gov.au/Infectious/covid-19/Documents/translated/information-for-people-exposed-to-covid-kurdish-kurmanji.pdf" TargetMode="External"/><Relationship Id="rId30" Type="http://schemas.openxmlformats.org/officeDocument/2006/relationships/hyperlink" Target="https://www.health.nsw.gov.au/Infectious/covid-19/Documents/translated/information-for-people-exposed-to-covid-macedonian.pdf" TargetMode="External"/><Relationship Id="rId35" Type="http://schemas.openxmlformats.org/officeDocument/2006/relationships/hyperlink" Target="https://www.health.nsw.gov.au/Infectious/covid-19/Documents/translated/information-for-people-exposed-to-covid-portuguese.pdf" TargetMode="External"/><Relationship Id="rId43" Type="http://schemas.openxmlformats.org/officeDocument/2006/relationships/hyperlink" Target="https://www.health.nsw.gov.au/Infectious/covid-19/Documents/translated/information-for-people-exposed-to-covid-telugu.pdf" TargetMode="External"/><Relationship Id="rId48" Type="http://schemas.openxmlformats.org/officeDocument/2006/relationships/hyperlink" Target="https://www.health.nsw.gov.au/Infectious/covid-19/Documents/translated/information-for-people-exposed-to-covid-vietnamese.pdf" TargetMode="External"/><Relationship Id="rId8" Type="http://schemas.openxmlformats.org/officeDocument/2006/relationships/hyperlink" Target="https://www.health.nsw.gov.au/Infectious/covid-19/Documents/translated/information-for-people-exposed-to-covid-burmese.pdf" TargetMode="External"/><Relationship Id="rId51" Type="http://schemas.openxmlformats.org/officeDocument/2006/relationships/image" Target="../media/image16.png"/><Relationship Id="rId3" Type="http://schemas.openxmlformats.org/officeDocument/2006/relationships/hyperlink" Target="https://www.health.nsw.gov.au/Infectious/covid-19/Documents/translated/information-for-people-exposed-to-covid-amharic.pdf" TargetMode="External"/><Relationship Id="rId12" Type="http://schemas.openxmlformats.org/officeDocument/2006/relationships/hyperlink" Target="https://www.nsw.gov.au/sites/default/files/2022-03/Factsheet-Information-for-people-2-March-2022v4.pdf" TargetMode="External"/><Relationship Id="rId17" Type="http://schemas.openxmlformats.org/officeDocument/2006/relationships/hyperlink" Target="https://www.health.nsw.gov.au/Infectious/covid-19/Documents/translated/information-for-people-exposed-to-covid-greek.pdf" TargetMode="External"/><Relationship Id="rId25" Type="http://schemas.openxmlformats.org/officeDocument/2006/relationships/hyperlink" Target="https://www.health.nsw.gov.au/Infectious/covid-19/Documents/translated/information-for-people-exposed-to-covid-kirundi.pdf" TargetMode="External"/><Relationship Id="rId33" Type="http://schemas.openxmlformats.org/officeDocument/2006/relationships/hyperlink" Target="https://www.health.nsw.gov.au/Infectious/covid-19/Documents/translated/information-for-people-exposed-to-covid-nepali.pdf" TargetMode="External"/><Relationship Id="rId38" Type="http://schemas.openxmlformats.org/officeDocument/2006/relationships/hyperlink" Target="https://www.health.nsw.gov.au/Infectious/covid-19/Documents/translated/information-for-people-exposed-to-covid-serbian.pdf" TargetMode="External"/><Relationship Id="rId46" Type="http://schemas.openxmlformats.org/officeDocument/2006/relationships/hyperlink" Target="https://www.health.nsw.gov.au/Infectious/covid-19/Documents/translated/information-for-people-exposed-to-covid-turkish.pdf" TargetMode="External"/><Relationship Id="rId20" Type="http://schemas.openxmlformats.org/officeDocument/2006/relationships/hyperlink" Target="https://www.health.nsw.gov.au/Infectious/covid-19/Documents/translated/information-for-people-exposed-to-covid-hindi.pdf" TargetMode="External"/><Relationship Id="rId41" Type="http://schemas.openxmlformats.org/officeDocument/2006/relationships/hyperlink" Target="https://www.health.nsw.gov.au/Infectious/covid-19/Documents/translated/information-for-people-exposed-to-covid-spanish.pdf" TargetMode="Externa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health.nsw.gov.au/Infectious/covid-19/Documents/translated/information-for-people-exposed-to-covid-assyrian.pdf" TargetMode="Externa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health.nsw.gov.au/Infectious/covid-19/Documents/translated/confirmed-cases-burmese.pdf" TargetMode="External"/><Relationship Id="rId18" Type="http://schemas.openxmlformats.org/officeDocument/2006/relationships/hyperlink" Target="https://www.health.nsw.gov.au/Infectious/covid-19/Documents/translated/confirmed-cases-farsi.pdf" TargetMode="External"/><Relationship Id="rId26" Type="http://schemas.openxmlformats.org/officeDocument/2006/relationships/hyperlink" Target="https://www.health.nsw.gov.au/Infectious/covid-19/Documents/translated/confirmed-cases-hebrew.pdf" TargetMode="External"/><Relationship Id="rId39" Type="http://schemas.openxmlformats.org/officeDocument/2006/relationships/hyperlink" Target="https://www.health.nsw.gov.au/Infectious/covid-19/Documents/translated/confirmed-cases-Macedonian.pdf" TargetMode="External"/><Relationship Id="rId21" Type="http://schemas.openxmlformats.org/officeDocument/2006/relationships/hyperlink" Target="https://www.health.nsw.gov.au/Infectious/covid-19/Documents/translated/confirmed-cases-french.pdf" TargetMode="External"/><Relationship Id="rId34" Type="http://schemas.openxmlformats.org/officeDocument/2006/relationships/hyperlink" Target="https://www.health.nsw.gov.au/Infectious/covid-19/Documents/translated/confirmed-cases-kirundi.pdf" TargetMode="External"/><Relationship Id="rId42" Type="http://schemas.openxmlformats.org/officeDocument/2006/relationships/hyperlink" Target="https://www.health.nsw.gov.au/Infectious/covid-19/Documents/translated/confirmed-cases-mongolian.pdf" TargetMode="External"/><Relationship Id="rId47" Type="http://schemas.openxmlformats.org/officeDocument/2006/relationships/hyperlink" Target="https://www.health.nsw.gov.au/Infectious/covid-19/Documents/translated/confirmed-cases-punjabi.pdf" TargetMode="External"/><Relationship Id="rId50" Type="http://schemas.openxmlformats.org/officeDocument/2006/relationships/hyperlink" Target="https://www.health.nsw.gov.au/Infectious/covid-19/Documents/translated/confirmed-cases-Samoan.pdf" TargetMode="External"/><Relationship Id="rId55" Type="http://schemas.openxmlformats.org/officeDocument/2006/relationships/hyperlink" Target="https://www.health.nsw.gov.au/Infectious/covid-19/Documents/translated/confirmed-cases-Swahili.pdf" TargetMode="External"/><Relationship Id="rId63" Type="http://schemas.openxmlformats.org/officeDocument/2006/relationships/hyperlink" Target="https://www.health.nsw.gov.au/Infectious/covid-19/Documents/translated/confirmed-cases-vietnamese.pdf" TargetMode="External"/><Relationship Id="rId7" Type="http://schemas.openxmlformats.org/officeDocument/2006/relationships/hyperlink" Target="https://www.health.nsw.gov.au/Infectious/covid-19/Documents/translated/confirmed-cases-amharic.pdf" TargetMode="External"/><Relationship Id="rId2" Type="http://schemas.openxmlformats.org/officeDocument/2006/relationships/notesSlide" Target="../notesSlides/notesSlide4.xml"/><Relationship Id="rId16" Type="http://schemas.openxmlformats.org/officeDocument/2006/relationships/hyperlink" Target="https://www.health.nsw.gov.au/Infectious/covid-19/Documents/translated/confirmed-cases-Croatian.pdf" TargetMode="External"/><Relationship Id="rId29" Type="http://schemas.openxmlformats.org/officeDocument/2006/relationships/hyperlink" Target="https://www.health.nsw.gov.au/Infectious/covid-19/Documents/translated/confirmed-cases-Indonesian.pdf" TargetMode="External"/><Relationship Id="rId11" Type="http://schemas.openxmlformats.org/officeDocument/2006/relationships/hyperlink" Target="https://www.health.nsw.gov.au/Infectious/covid-19/Documents/translated/confirmed-cases-Bengali.pdf" TargetMode="External"/><Relationship Id="rId24" Type="http://schemas.openxmlformats.org/officeDocument/2006/relationships/hyperlink" Target="https://www.health.nsw.gov.au/Infectious/covid-19/Documents/translated/confirmed-cases-gujarati.pdf" TargetMode="External"/><Relationship Id="rId32" Type="http://schemas.openxmlformats.org/officeDocument/2006/relationships/hyperlink" Target="https://www.health.nsw.gov.au/Infectious/covid-19/Documents/translated/confirmed-cases-khmer.pdf" TargetMode="External"/><Relationship Id="rId37" Type="http://schemas.openxmlformats.org/officeDocument/2006/relationships/hyperlink" Target="https://www.health.nsw.gov.au/Infectious/covid-19/Documents/translated/confirmed-cases-kurdish-sorani.pdf" TargetMode="External"/><Relationship Id="rId40" Type="http://schemas.openxmlformats.org/officeDocument/2006/relationships/hyperlink" Target="https://www.health.nsw.gov.au/Infectious/covid-19/Documents/translated/confirmed-cases-malayalam.pdf" TargetMode="External"/><Relationship Id="rId45" Type="http://schemas.openxmlformats.org/officeDocument/2006/relationships/hyperlink" Target="https://www.health.nsw.gov.au/Infectious/covid-19/Documents/translated/confirmed-cases-polish.pdf" TargetMode="External"/><Relationship Id="rId53" Type="http://schemas.openxmlformats.org/officeDocument/2006/relationships/hyperlink" Target="https://www.health.nsw.gov.au/Infectious/covid-19/Documents/translated/confirmed-cases-somali.pdf" TargetMode="External"/><Relationship Id="rId58" Type="http://schemas.openxmlformats.org/officeDocument/2006/relationships/hyperlink" Target="https://www.health.nsw.gov.au/Infectious/covid-19/Documents/translated/confirmed-cases-Thai.pdf" TargetMode="External"/><Relationship Id="rId5" Type="http://schemas.openxmlformats.org/officeDocument/2006/relationships/image" Target="../media/image19.png"/><Relationship Id="rId61" Type="http://schemas.openxmlformats.org/officeDocument/2006/relationships/hyperlink" Target="https://www.health.nsw.gov.au/Infectious/covid-19/Documents/translated/confirmed-cases-turkish.pdf" TargetMode="External"/><Relationship Id="rId19" Type="http://schemas.openxmlformats.org/officeDocument/2006/relationships/hyperlink" Target="https://www.health.nsw.gov.au/Infectious/covid-19/Documents/translated/confirmed-cases-Fijian.pdf" TargetMode="External"/><Relationship Id="rId14" Type="http://schemas.openxmlformats.org/officeDocument/2006/relationships/hyperlink" Target="https://www.health.nsw.gov.au/Infectious/covid-19/Documents/translated/confirmed-cases-cs.pdf" TargetMode="External"/><Relationship Id="rId22" Type="http://schemas.openxmlformats.org/officeDocument/2006/relationships/hyperlink" Target="https://www.health.nsw.gov.au/Infectious/covid-19/Documents/translated/confirmed-cases-german.pdf" TargetMode="External"/><Relationship Id="rId27" Type="http://schemas.openxmlformats.org/officeDocument/2006/relationships/hyperlink" Target="https://www.health.nsw.gov.au/Infectious/covid-19/Documents/translated/confirmed-cases-hindi.pdf" TargetMode="External"/><Relationship Id="rId30" Type="http://schemas.openxmlformats.org/officeDocument/2006/relationships/hyperlink" Target="https://www.health.nsw.gov.au/Infectious/covid-19/Documents/translated/confirmed-cases-Italian.pdf" TargetMode="External"/><Relationship Id="rId35" Type="http://schemas.openxmlformats.org/officeDocument/2006/relationships/hyperlink" Target="https://www.health.nsw.gov.au/Infectious/covid-19/Documents/translated/confirmed-cases-korean.pdf" TargetMode="External"/><Relationship Id="rId43" Type="http://schemas.openxmlformats.org/officeDocument/2006/relationships/hyperlink" Target="https://www.health.nsw.gov.au/Infectious/covid-19/Documents/translated/confirmed-cases-Nepali.pdf" TargetMode="External"/><Relationship Id="rId48" Type="http://schemas.openxmlformats.org/officeDocument/2006/relationships/hyperlink" Target="https://www.health.nsw.gov.au/Infectious/covid-19/Documents/translated/confirmed-cases-rohingya.pdf" TargetMode="External"/><Relationship Id="rId56" Type="http://schemas.openxmlformats.org/officeDocument/2006/relationships/hyperlink" Target="https://www.health.nsw.gov.au/Infectious/covid-19/Documents/translated/confirmed-cases-tamil.pdf" TargetMode="External"/><Relationship Id="rId8" Type="http://schemas.openxmlformats.org/officeDocument/2006/relationships/hyperlink" Target="https://www.health.nsw.gov.au/Infectious/covid-19/Documents/translated/confirmed-cases-arabic.pdf" TargetMode="External"/><Relationship Id="rId51" Type="http://schemas.openxmlformats.org/officeDocument/2006/relationships/hyperlink" Target="https://www.health.nsw.gov.au/Infectious/covid-19/Documents/translated/confirmed-cases-Serbian.pdf" TargetMode="External"/><Relationship Id="rId3" Type="http://schemas.openxmlformats.org/officeDocument/2006/relationships/image" Target="../media/image17.png"/><Relationship Id="rId12" Type="http://schemas.openxmlformats.org/officeDocument/2006/relationships/hyperlink" Target="https://www.health.nsw.gov.au/Infectious/covid-19/Documents/translated/confirmed-cases-Bosnian.pdf" TargetMode="External"/><Relationship Id="rId17" Type="http://schemas.openxmlformats.org/officeDocument/2006/relationships/hyperlink" Target="https://www.health.nsw.gov.au/Infectious/covid-19/Documents/translated/confirmed-cases-dari.pdf" TargetMode="External"/><Relationship Id="rId25" Type="http://schemas.openxmlformats.org/officeDocument/2006/relationships/hyperlink" Target="https://www.health.nsw.gov.au/Infectious/covid-19/Documents/translated/confirmed-cases-hazaragi.pdf" TargetMode="External"/><Relationship Id="rId33" Type="http://schemas.openxmlformats.org/officeDocument/2006/relationships/hyperlink" Target="https://www.health.nsw.gov.au/Infectious/covid-19/Documents/translated/confirmed-cases-kinyarwanda.pdf" TargetMode="External"/><Relationship Id="rId38" Type="http://schemas.openxmlformats.org/officeDocument/2006/relationships/hyperlink" Target="https://www.health.nsw.gov.au/Infectious/covid-19/Documents/translated/confirmed-cases-Lao.pdf" TargetMode="External"/><Relationship Id="rId46" Type="http://schemas.openxmlformats.org/officeDocument/2006/relationships/hyperlink" Target="https://www.health.nsw.gov.au/Infectious/covid-19/Documents/translated/confirmed-cases-Portuguese.pdf" TargetMode="External"/><Relationship Id="rId59" Type="http://schemas.openxmlformats.org/officeDocument/2006/relationships/hyperlink" Target="https://www.health.nsw.gov.au/Infectious/covid-19/Documents/translated/confirmed-cases-Tibetan.pdf" TargetMode="External"/><Relationship Id="rId20" Type="http://schemas.openxmlformats.org/officeDocument/2006/relationships/hyperlink" Target="https://www.health.nsw.gov.au/Infectious/covid-19/Documents/translated/confirmed-cases-filipino.pdf" TargetMode="External"/><Relationship Id="rId41" Type="http://schemas.openxmlformats.org/officeDocument/2006/relationships/hyperlink" Target="https://www.health.nsw.gov.au/Infectious/covid-19/Documents/translated/confirmed-cases-maltese.pdf" TargetMode="External"/><Relationship Id="rId54" Type="http://schemas.openxmlformats.org/officeDocument/2006/relationships/hyperlink" Target="https://www.health.nsw.gov.au/Infectious/covid-19/Documents/translated/confirmed-cases-Spanish.pdf" TargetMode="External"/><Relationship Id="rId62" Type="http://schemas.openxmlformats.org/officeDocument/2006/relationships/hyperlink" Target="https://www.health.nsw.gov.au/Infectious/covid-19/Documents/translated/confirmed-cases-Urdu.pdf" TargetMode="Externa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health.nsw.gov.au/Infectious/covid-19/Pages/translated/topic-isolation.aspx" TargetMode="External"/><Relationship Id="rId15" Type="http://schemas.openxmlformats.org/officeDocument/2006/relationships/hyperlink" Target="https://www.health.nsw.gov.au/Infectious/covid-19/Documents/translated/confirmed-cases-ct.pdf" TargetMode="External"/><Relationship Id="rId23" Type="http://schemas.openxmlformats.org/officeDocument/2006/relationships/hyperlink" Target="https://www.health.nsw.gov.au/Infectious/covid-19/Documents/translated/confirmed-cases-Greek.pdf" TargetMode="External"/><Relationship Id="rId28" Type="http://schemas.openxmlformats.org/officeDocument/2006/relationships/hyperlink" Target="https://www.health.nsw.gov.au/Infectious/covid-19/Documents/translated/confirmed-cases-hungarian.pdf" TargetMode="External"/><Relationship Id="rId36" Type="http://schemas.openxmlformats.org/officeDocument/2006/relationships/hyperlink" Target="https://www.health.nsw.gov.au/Infectious/covid-19/Documents/translated/confirmed-cases-kurdish-kurmanji.pdf" TargetMode="External"/><Relationship Id="rId49" Type="http://schemas.openxmlformats.org/officeDocument/2006/relationships/hyperlink" Target="https://www.health.nsw.gov.au/Infectious/covid-19/Documents/translated/confirmed-cases-russian.pdf" TargetMode="External"/><Relationship Id="rId57" Type="http://schemas.openxmlformats.org/officeDocument/2006/relationships/hyperlink" Target="https://www.health.nsw.gov.au/Infectious/covid-19/Documents/translated/confirmed-cases-telugu.pdf" TargetMode="External"/><Relationship Id="rId10" Type="http://schemas.openxmlformats.org/officeDocument/2006/relationships/hyperlink" Target="https://www.health.nsw.gov.au/Infectious/covid-19/Documents/translated/confirmed-cases-Assyrian.pdf" TargetMode="External"/><Relationship Id="rId31" Type="http://schemas.openxmlformats.org/officeDocument/2006/relationships/hyperlink" Target="https://www.health.nsw.gov.au/Infectious/covid-19/Documents/translated/confirmed-cases-japanese.pdf" TargetMode="External"/><Relationship Id="rId44" Type="http://schemas.openxmlformats.org/officeDocument/2006/relationships/hyperlink" Target="https://www.health.nsw.gov.au/Infectious/covid-19/Documents/translated/confirmed-cases-pashto.pdf" TargetMode="External"/><Relationship Id="rId52" Type="http://schemas.openxmlformats.org/officeDocument/2006/relationships/hyperlink" Target="https://www.health.nsw.gov.au/Infectious/covid-19/Documents/translated/confirmed-cases-sinhalese.pdf" TargetMode="External"/><Relationship Id="rId60" Type="http://schemas.openxmlformats.org/officeDocument/2006/relationships/hyperlink" Target="https://www.health.nsw.gov.au/Infectious/covid-19/Documents/translated/confirmed-cases-tongan.pdf" TargetMode="External"/><Relationship Id="rId4" Type="http://schemas.openxmlformats.org/officeDocument/2006/relationships/image" Target="../media/image18.png"/><Relationship Id="rId9" Type="http://schemas.openxmlformats.org/officeDocument/2006/relationships/hyperlink" Target="https://www.health.nsw.gov.au/Infectious/covid-19/Documents/translated/confirmed-cases-armenian.pdf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YlO1V8pKwNc" TargetMode="External"/><Relationship Id="rId13" Type="http://schemas.openxmlformats.org/officeDocument/2006/relationships/hyperlink" Target="https://www.health.nsw.gov.au/Infectious/covid-19/Pages/translated/topic-isolation.aspx" TargetMode="External"/><Relationship Id="rId3" Type="http://schemas.openxmlformats.org/officeDocument/2006/relationships/image" Target="../media/image20.jpeg"/><Relationship Id="rId7" Type="http://schemas.openxmlformats.org/officeDocument/2006/relationships/hyperlink" Target="https://www.youtube.com/watch?v=CPtElosdgsg&amp;list=PLPghj3nsClp36UzCR31H2zSYoQ9e_qqgG&amp;index=7" TargetMode="External"/><Relationship Id="rId12" Type="http://schemas.openxmlformats.org/officeDocument/2006/relationships/hyperlink" Target="https://www.youtube.com/watch?v=1jI12Zt7CFY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youtube.com/watch?v=pEs3c_AZS3U" TargetMode="External"/><Relationship Id="rId11" Type="http://schemas.openxmlformats.org/officeDocument/2006/relationships/hyperlink" Target="https://www.youtube.com/watch?v=U0l90TuagAk" TargetMode="External"/><Relationship Id="rId5" Type="http://schemas.openxmlformats.org/officeDocument/2006/relationships/hyperlink" Target="https://www.youtube.com/watch?v=o79SC62SKYk" TargetMode="External"/><Relationship Id="rId10" Type="http://schemas.openxmlformats.org/officeDocument/2006/relationships/hyperlink" Target="https://www.youtube.com/watch?v=8qXYIqQmdGo" TargetMode="External"/><Relationship Id="rId4" Type="http://schemas.openxmlformats.org/officeDocument/2006/relationships/hyperlink" Target="https://www.youtube.com/watch?v=qDa397gyVhA" TargetMode="External"/><Relationship Id="rId9" Type="http://schemas.openxmlformats.org/officeDocument/2006/relationships/hyperlink" Target="https://www.youtube.com/watch?v=8-qikZWhZRA&amp;list=PLPghj3nsClp36UzCR31H2zSYoQ9e_qqgG&amp;index=7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305D3D-BC2C-4397-8263-41EAA05A97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000" y="4241468"/>
            <a:ext cx="8333928" cy="108958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AU" sz="2600"/>
              <a:t>MP's Toolkit: 18 March 2022 update</a:t>
            </a:r>
          </a:p>
          <a:p>
            <a:r>
              <a:rPr lang="en-AU" sz="2600"/>
              <a:t>Multicultural focus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E666C0CE-5149-4272-B098-4336C71D7260}"/>
              </a:ext>
            </a:extLst>
          </p:cNvPr>
          <p:cNvSpPr>
            <a:spLocks noGrp="1"/>
          </p:cNvSpPr>
          <p:nvPr/>
        </p:nvSpPr>
        <p:spPr>
          <a:xfrm>
            <a:off x="360000" y="903600"/>
            <a:ext cx="10741897" cy="2524209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br>
              <a:rPr lang="en-US" sz="5100">
                <a:latin typeface="+mj-lt"/>
              </a:rPr>
            </a:br>
            <a:r>
              <a:rPr lang="en-US" sz="5100">
                <a:latin typeface="+mj-lt"/>
              </a:rPr>
              <a:t>COVID-19 communications</a:t>
            </a:r>
            <a:br>
              <a:rPr lang="en-US" sz="5100">
                <a:latin typeface="+mj-lt"/>
              </a:rPr>
            </a:br>
            <a:r>
              <a:rPr lang="en-AU" sz="2000" b="0" i="0">
                <a:solidFill>
                  <a:srgbClr val="FFFFFF"/>
                </a:solidFill>
                <a:effectLst/>
                <a:latin typeface="Public Sans" pitchFamily="2" charset="0"/>
              </a:rPr>
              <a:t>Department of Customer Service</a:t>
            </a:r>
            <a:br>
              <a:rPr lang="en-US" sz="5100">
                <a:latin typeface="+mj-lt"/>
              </a:rPr>
            </a:br>
            <a:endParaRPr lang="en-AU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98389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5">
            <a:extLst>
              <a:ext uri="{FF2B5EF4-FFF2-40B4-BE49-F238E27FC236}">
                <a16:creationId xmlns:a16="http://schemas.microsoft.com/office/drawing/2014/main" id="{477D23D0-0546-4498-B86B-EC478AB0FF18}"/>
              </a:ext>
            </a:extLst>
          </p:cNvPr>
          <p:cNvSpPr txBox="1">
            <a:spLocks/>
          </p:cNvSpPr>
          <p:nvPr/>
        </p:nvSpPr>
        <p:spPr>
          <a:xfrm>
            <a:off x="587375" y="433605"/>
            <a:ext cx="9864586" cy="4240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/>
              <a:t>Preparing for self-isolation: explainer audio</a:t>
            </a:r>
            <a:endParaRPr lang="en-AU" sz="32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AFCF59-D67F-4068-8789-BA08790D92D8}"/>
              </a:ext>
            </a:extLst>
          </p:cNvPr>
          <p:cNvSpPr txBox="1"/>
          <p:nvPr/>
        </p:nvSpPr>
        <p:spPr>
          <a:xfrm>
            <a:off x="3905251" y="1215111"/>
            <a:ext cx="4752978" cy="344312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07000"/>
              </a:lnSpc>
              <a:spcAft>
                <a:spcPts val="800"/>
              </a:spcAft>
              <a:defRPr sz="1200" b="1">
                <a:latin typeface="Public Sans (NSW)"/>
                <a:cs typeface="Times New Roman"/>
              </a:defRPr>
            </a:lvl1pPr>
          </a:lstStyle>
          <a:p>
            <a:pPr>
              <a:spcAft>
                <a:spcPts val="0"/>
              </a:spcAft>
            </a:pPr>
            <a:r>
              <a:rPr lang="en-US" i="0">
                <a:solidFill>
                  <a:srgbClr val="242424"/>
                </a:solidFill>
                <a:effectLst/>
              </a:rPr>
              <a:t>Overview </a:t>
            </a:r>
            <a:r>
              <a:rPr lang="en-US" b="0" i="0">
                <a:solidFill>
                  <a:srgbClr val="242424"/>
                </a:solidFill>
                <a:effectLst/>
              </a:rPr>
              <a:t>This information is about self-isolating at home if you or someone you live with has COVID-19.</a:t>
            </a:r>
          </a:p>
          <a:p>
            <a:pPr>
              <a:spcAft>
                <a:spcPts val="0"/>
              </a:spcAft>
            </a:pPr>
            <a:endParaRPr lang="en-US">
              <a:solidFill>
                <a:srgbClr val="242424"/>
              </a:solidFill>
            </a:endParaRPr>
          </a:p>
          <a:p>
            <a:pPr>
              <a:spcAft>
                <a:spcPts val="0"/>
              </a:spcAft>
            </a:pPr>
            <a:r>
              <a:rPr lang="en-US" i="0">
                <a:solidFill>
                  <a:srgbClr val="242424"/>
                </a:solidFill>
                <a:effectLst/>
              </a:rPr>
              <a:t>Post copy: </a:t>
            </a:r>
            <a:r>
              <a:rPr lang="en-US" b="0" i="0">
                <a:solidFill>
                  <a:srgbClr val="242424"/>
                </a:solidFill>
                <a:effectLst/>
              </a:rPr>
              <a:t>Preparing for self-isolation</a:t>
            </a:r>
          </a:p>
          <a:p>
            <a:pPr>
              <a:spcAft>
                <a:spcPts val="0"/>
              </a:spcAft>
            </a:pPr>
            <a:r>
              <a:rPr lang="en-US" b="0" i="0">
                <a:solidFill>
                  <a:srgbClr val="242424"/>
                </a:solidFill>
                <a:effectLst/>
              </a:rPr>
              <a:t>If you need to self-isolate at any time, or are self-isolating now, it is important you have enough essential food, drink and household items to last a few days at home.</a:t>
            </a:r>
          </a:p>
          <a:p>
            <a:pPr>
              <a:spcAft>
                <a:spcPts val="0"/>
              </a:spcAft>
            </a:pPr>
            <a:r>
              <a:rPr lang="en-US" b="0" i="0">
                <a:solidFill>
                  <a:srgbClr val="242424"/>
                </a:solidFill>
                <a:effectLst/>
              </a:rPr>
              <a:t>Ensure you have a two-week supply of your usual medications, and pain relief such as paracetamol, a thermometer and rapid antigen tests if available. Keep enough cleaning products to wipe down surfaces, and hand </a:t>
            </a:r>
            <a:r>
              <a:rPr lang="en-US" b="0" i="0" err="1">
                <a:solidFill>
                  <a:srgbClr val="242424"/>
                </a:solidFill>
                <a:effectLst/>
              </a:rPr>
              <a:t>sanitiser</a:t>
            </a:r>
            <a:r>
              <a:rPr lang="en-US" b="0" i="0">
                <a:solidFill>
                  <a:srgbClr val="242424"/>
                </a:solidFill>
                <a:effectLst/>
              </a:rPr>
              <a:t>.</a:t>
            </a:r>
          </a:p>
          <a:p>
            <a:pPr>
              <a:spcAft>
                <a:spcPts val="0"/>
              </a:spcAft>
            </a:pPr>
            <a:r>
              <a:rPr lang="en-US" b="0" i="0">
                <a:solidFill>
                  <a:srgbClr val="242424"/>
                </a:solidFill>
                <a:effectLst/>
              </a:rPr>
              <a:t>Have a supply of masks. Make sure you have enough supplies for infants and children such as nappies or toys. </a:t>
            </a:r>
          </a:p>
          <a:p>
            <a:pPr>
              <a:spcAft>
                <a:spcPts val="0"/>
              </a:spcAft>
            </a:pPr>
            <a:r>
              <a:rPr lang="en-US" b="0" i="0">
                <a:solidFill>
                  <a:srgbClr val="242424"/>
                </a:solidFill>
                <a:effectLst/>
              </a:rPr>
              <a:t>Keep phone numbers of your GP and emergency contacts handy.</a:t>
            </a:r>
          </a:p>
          <a:p>
            <a:pPr>
              <a:spcAft>
                <a:spcPts val="0"/>
              </a:spcAft>
            </a:pPr>
            <a:endParaRPr lang="en-US" b="0">
              <a:solidFill>
                <a:srgbClr val="242424"/>
              </a:solidFill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en-US">
                <a:solidFill>
                  <a:srgbClr val="242424"/>
                </a:solidFill>
              </a:rPr>
              <a:t>Audio clip to share: </a:t>
            </a:r>
            <a:r>
              <a:rPr lang="en-GB" b="0">
                <a:hlinkClick r:id="rId3"/>
              </a:rPr>
              <a:t>Arabic</a:t>
            </a:r>
            <a:r>
              <a:rPr lang="en-GB" b="0"/>
              <a:t>, </a:t>
            </a:r>
            <a:r>
              <a:rPr lang="en-GB" b="0">
                <a:hlinkClick r:id="rId4"/>
              </a:rPr>
              <a:t>Assyrian</a:t>
            </a:r>
            <a:r>
              <a:rPr lang="en-GB" b="0"/>
              <a:t>, </a:t>
            </a:r>
            <a:r>
              <a:rPr lang="en-AU" b="0">
                <a:hlinkClick r:id="rId5"/>
              </a:rPr>
              <a:t>Bosnian</a:t>
            </a:r>
            <a:r>
              <a:rPr lang="en-AU" b="0"/>
              <a:t>, </a:t>
            </a:r>
            <a:r>
              <a:rPr lang="en-AU" b="0">
                <a:hlinkClick r:id="rId6"/>
              </a:rPr>
              <a:t>Croatian</a:t>
            </a:r>
            <a:r>
              <a:rPr lang="en-AU" b="0"/>
              <a:t>, </a:t>
            </a:r>
            <a:r>
              <a:rPr lang="en-AU" b="0">
                <a:hlinkClick r:id="rId7"/>
              </a:rPr>
              <a:t>Italian</a:t>
            </a:r>
            <a:r>
              <a:rPr lang="en-AU" b="0"/>
              <a:t>, </a:t>
            </a:r>
            <a:r>
              <a:rPr lang="en-AU" b="0">
                <a:hlinkClick r:id="rId8"/>
              </a:rPr>
              <a:t>Macedonian</a:t>
            </a:r>
            <a:r>
              <a:rPr lang="en-AU" b="0"/>
              <a:t>, </a:t>
            </a:r>
            <a:r>
              <a:rPr lang="en-AU" b="0">
                <a:hlinkClick r:id="rId9"/>
              </a:rPr>
              <a:t>Mandarin</a:t>
            </a:r>
            <a:r>
              <a:rPr lang="en-AU" b="0"/>
              <a:t>, </a:t>
            </a:r>
            <a:r>
              <a:rPr lang="en-AU" b="0">
                <a:hlinkClick r:id="rId10"/>
              </a:rPr>
              <a:t>Spanish</a:t>
            </a:r>
            <a:r>
              <a:rPr lang="en-AU" b="0"/>
              <a:t>, </a:t>
            </a:r>
            <a:r>
              <a:rPr lang="en-AU" b="0">
                <a:hlinkClick r:id="rId11"/>
              </a:rPr>
              <a:t>Vietnamese</a:t>
            </a:r>
            <a:endParaRPr lang="en-US" b="0">
              <a:cs typeface="Times New Roman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31181F1-4B01-4704-AC64-30010ED0A9CA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75" y="1233488"/>
            <a:ext cx="2946399" cy="298137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C020785-A86B-43F9-8B4B-2757DD41A749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75" y="4590663"/>
            <a:ext cx="1785938" cy="1796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BF834FE-FD10-497D-8805-55023644C5EB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4753" y="4804329"/>
            <a:ext cx="1829021" cy="181816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E800875-DC77-40A9-9468-0AEECED3A2EE}"/>
              </a:ext>
            </a:extLst>
          </p:cNvPr>
          <p:cNvSpPr/>
          <p:nvPr/>
        </p:nvSpPr>
        <p:spPr>
          <a:xfrm>
            <a:off x="9290638" y="5697899"/>
            <a:ext cx="2411392" cy="704127"/>
          </a:xfrm>
          <a:prstGeom prst="rect">
            <a:avLst/>
          </a:prstGeom>
          <a:solidFill>
            <a:srgbClr val="CBEDFD"/>
          </a:solidFill>
          <a:ln>
            <a:solidFill>
              <a:srgbClr val="CBE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443511-24E3-42C0-B201-0E9711443288}"/>
              </a:ext>
            </a:extLst>
          </p:cNvPr>
          <p:cNvSpPr txBox="1"/>
          <p:nvPr/>
        </p:nvSpPr>
        <p:spPr>
          <a:xfrm>
            <a:off x="9381550" y="5827703"/>
            <a:ext cx="2226141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200"/>
              <a:t>For all translated Managing COVID-19 content, </a:t>
            </a:r>
            <a:r>
              <a:rPr lang="en-AU" sz="1200" b="1"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endParaRPr lang="en-AU" sz="1200" b="1"/>
          </a:p>
        </p:txBody>
      </p:sp>
    </p:spTree>
    <p:extLst>
      <p:ext uri="{BB962C8B-B14F-4D97-AF65-F5344CB8AC3E}">
        <p14:creationId xmlns:p14="http://schemas.microsoft.com/office/powerpoint/2010/main" val="585428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9367E6B-6625-4275-A23E-51BA1B1BA57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6292" y="3443845"/>
            <a:ext cx="1889415" cy="2706576"/>
          </a:xfrm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sp>
        <p:nvSpPr>
          <p:cNvPr id="7" name="Title 15">
            <a:extLst>
              <a:ext uri="{FF2B5EF4-FFF2-40B4-BE49-F238E27FC236}">
                <a16:creationId xmlns:a16="http://schemas.microsoft.com/office/drawing/2014/main" id="{477D23D0-0546-4498-B86B-EC478AB0FF18}"/>
              </a:ext>
            </a:extLst>
          </p:cNvPr>
          <p:cNvSpPr txBox="1">
            <a:spLocks/>
          </p:cNvSpPr>
          <p:nvPr/>
        </p:nvSpPr>
        <p:spPr>
          <a:xfrm>
            <a:off x="587375" y="433605"/>
            <a:ext cx="9864586" cy="4240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Public Sans (NSW)"/>
              </a:rPr>
              <a:t>How to self-isolate: infographic </a:t>
            </a:r>
            <a:endParaRPr lang="en-AU" sz="3200">
              <a:latin typeface="Public Sans (NSW)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9CBF0BB-8C19-46CE-860E-8D07205FA3B2}"/>
              </a:ext>
            </a:extLst>
          </p:cNvPr>
          <p:cNvSpPr txBox="1"/>
          <p:nvPr/>
        </p:nvSpPr>
        <p:spPr>
          <a:xfrm>
            <a:off x="4106292" y="1449388"/>
            <a:ext cx="4421759" cy="117429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07000"/>
              </a:lnSpc>
              <a:spcAft>
                <a:spcPts val="800"/>
              </a:spcAft>
              <a:defRPr sz="1200" b="1">
                <a:latin typeface="Public Sans (NSW)"/>
                <a:cs typeface="Times New Roman"/>
              </a:defRPr>
            </a:lvl1pPr>
          </a:lstStyle>
          <a:p>
            <a:pPr>
              <a:spcAft>
                <a:spcPts val="0"/>
              </a:spcAft>
            </a:pPr>
            <a:r>
              <a:rPr lang="en-US">
                <a:cs typeface="Times New Roman"/>
              </a:rPr>
              <a:t>Download </a:t>
            </a:r>
            <a:r>
              <a:rPr lang="en-US"/>
              <a:t>fact sheet</a:t>
            </a:r>
            <a:r>
              <a:rPr lang="en-US" b="0">
                <a:cs typeface="Times New Roman"/>
              </a:rPr>
              <a:t>:</a:t>
            </a:r>
          </a:p>
          <a:p>
            <a:r>
              <a:rPr lang="en-GB" b="0">
                <a:hlinkClick r:id="rId4"/>
              </a:rPr>
              <a:t>Arabic</a:t>
            </a:r>
            <a:r>
              <a:rPr lang="en-GB" b="0"/>
              <a:t>, </a:t>
            </a:r>
            <a:r>
              <a:rPr lang="en-GB" b="0">
                <a:hlinkClick r:id="rId5"/>
              </a:rPr>
              <a:t>Assyrian</a:t>
            </a:r>
            <a:r>
              <a:rPr lang="en-GB" b="0"/>
              <a:t>, </a:t>
            </a:r>
            <a:r>
              <a:rPr lang="en-GB" b="0">
                <a:hlinkClick r:id="rId6"/>
              </a:rPr>
              <a:t>Bangla</a:t>
            </a:r>
            <a:r>
              <a:rPr lang="en-GB" b="0"/>
              <a:t>, </a:t>
            </a:r>
            <a:r>
              <a:rPr lang="en-GB" b="0">
                <a:hlinkClick r:id="rId7"/>
              </a:rPr>
              <a:t>Chinese-Simplified</a:t>
            </a:r>
            <a:r>
              <a:rPr lang="en-GB" b="0"/>
              <a:t>, </a:t>
            </a:r>
            <a:r>
              <a:rPr lang="en-GB" b="0">
                <a:hlinkClick r:id="rId8"/>
              </a:rPr>
              <a:t>Chinese-Traditional</a:t>
            </a:r>
            <a:r>
              <a:rPr lang="en-GB" b="0"/>
              <a:t>, </a:t>
            </a:r>
            <a:r>
              <a:rPr lang="en-GB" b="0">
                <a:hlinkClick r:id="rId9"/>
              </a:rPr>
              <a:t>Dari</a:t>
            </a:r>
            <a:r>
              <a:rPr lang="en-GB" b="0"/>
              <a:t>, </a:t>
            </a:r>
            <a:r>
              <a:rPr lang="en-GB" b="0">
                <a:hlinkClick r:id="rId10"/>
              </a:rPr>
              <a:t>English</a:t>
            </a:r>
            <a:r>
              <a:rPr lang="en-GB" b="0"/>
              <a:t>, </a:t>
            </a:r>
            <a:r>
              <a:rPr lang="en-GB" b="0">
                <a:hlinkClick r:id="rId11"/>
              </a:rPr>
              <a:t>Farsi</a:t>
            </a:r>
            <a:r>
              <a:rPr lang="en-GB" b="0"/>
              <a:t>, </a:t>
            </a:r>
            <a:r>
              <a:rPr lang="en-GB" b="0">
                <a:hlinkClick r:id="rId12"/>
              </a:rPr>
              <a:t>Greek</a:t>
            </a:r>
            <a:r>
              <a:rPr lang="en-GB" b="0"/>
              <a:t>, </a:t>
            </a:r>
            <a:r>
              <a:rPr lang="en-GB" b="0">
                <a:hlinkClick r:id="rId13"/>
              </a:rPr>
              <a:t>Hindi</a:t>
            </a:r>
            <a:r>
              <a:rPr lang="en-GB" b="0"/>
              <a:t>, </a:t>
            </a:r>
            <a:r>
              <a:rPr lang="en-GB" b="0">
                <a:hlinkClick r:id="rId14"/>
              </a:rPr>
              <a:t>Italian</a:t>
            </a:r>
            <a:r>
              <a:rPr lang="en-GB" b="0"/>
              <a:t>, </a:t>
            </a:r>
            <a:r>
              <a:rPr lang="en-GB" b="0">
                <a:hlinkClick r:id="rId15"/>
              </a:rPr>
              <a:t>Khmer</a:t>
            </a:r>
            <a:r>
              <a:rPr lang="en-GB" b="0"/>
              <a:t>, </a:t>
            </a:r>
            <a:r>
              <a:rPr lang="en-GB" b="0">
                <a:hlinkClick r:id="rId16"/>
              </a:rPr>
              <a:t>Korean</a:t>
            </a:r>
            <a:r>
              <a:rPr lang="en-GB" b="0"/>
              <a:t>, </a:t>
            </a:r>
            <a:r>
              <a:rPr lang="en-GB" b="0">
                <a:hlinkClick r:id="rId17"/>
              </a:rPr>
              <a:t>Lao</a:t>
            </a:r>
            <a:r>
              <a:rPr lang="en-GB" b="0"/>
              <a:t>, </a:t>
            </a:r>
            <a:r>
              <a:rPr lang="en-GB" b="0">
                <a:hlinkClick r:id="rId18"/>
              </a:rPr>
              <a:t>Nepali</a:t>
            </a:r>
            <a:r>
              <a:rPr lang="en-GB" b="0"/>
              <a:t>, </a:t>
            </a:r>
            <a:r>
              <a:rPr lang="en-GB" b="0">
                <a:hlinkClick r:id="rId19"/>
              </a:rPr>
              <a:t>Punjabi</a:t>
            </a:r>
            <a:r>
              <a:rPr lang="en-GB" b="0"/>
              <a:t>, </a:t>
            </a:r>
            <a:r>
              <a:rPr lang="en-GB" b="0">
                <a:hlinkClick r:id="rId20"/>
              </a:rPr>
              <a:t>Samoan</a:t>
            </a:r>
            <a:r>
              <a:rPr lang="en-GB" b="0"/>
              <a:t>, </a:t>
            </a:r>
            <a:r>
              <a:rPr lang="en-GB" b="0">
                <a:hlinkClick r:id="rId21"/>
              </a:rPr>
              <a:t>Spanish</a:t>
            </a:r>
            <a:r>
              <a:rPr lang="en-GB" b="0"/>
              <a:t>, </a:t>
            </a:r>
            <a:r>
              <a:rPr lang="en-GB" b="0">
                <a:hlinkClick r:id="rId22"/>
              </a:rPr>
              <a:t>Thai</a:t>
            </a:r>
            <a:r>
              <a:rPr lang="en-GB" b="0"/>
              <a:t>, </a:t>
            </a:r>
            <a:r>
              <a:rPr lang="en-GB" b="0">
                <a:hlinkClick r:id="rId23"/>
              </a:rPr>
              <a:t>Tongan</a:t>
            </a:r>
            <a:r>
              <a:rPr lang="en-GB" b="0"/>
              <a:t>, </a:t>
            </a:r>
            <a:r>
              <a:rPr lang="en-GB" b="0">
                <a:hlinkClick r:id="rId24"/>
              </a:rPr>
              <a:t>Vietnamese</a:t>
            </a:r>
            <a:r>
              <a:rPr lang="en-GB" b="0"/>
              <a:t> </a:t>
            </a:r>
          </a:p>
          <a:p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D2B53D-D726-4125-A16A-5791D8DFA8DC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75" y="1449388"/>
            <a:ext cx="3367681" cy="4809972"/>
          </a:xfrm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468D708-22FD-469D-B0D9-A585E984614F}"/>
              </a:ext>
            </a:extLst>
          </p:cNvPr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943" y="3429000"/>
            <a:ext cx="1906710" cy="2706577"/>
          </a:xfrm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3C2BF2A-6BB9-4D3D-AB97-6B411BB7B923}"/>
              </a:ext>
            </a:extLst>
          </p:cNvPr>
          <p:cNvSpPr/>
          <p:nvPr/>
        </p:nvSpPr>
        <p:spPr>
          <a:xfrm>
            <a:off x="9162217" y="5410327"/>
            <a:ext cx="2411392" cy="704127"/>
          </a:xfrm>
          <a:prstGeom prst="rect">
            <a:avLst/>
          </a:prstGeom>
          <a:solidFill>
            <a:srgbClr val="CBEDFD"/>
          </a:solidFill>
          <a:ln>
            <a:solidFill>
              <a:srgbClr val="CBE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C10248-4A66-4915-994E-06DB8A8120D5}"/>
              </a:ext>
            </a:extLst>
          </p:cNvPr>
          <p:cNvSpPr txBox="1"/>
          <p:nvPr/>
        </p:nvSpPr>
        <p:spPr>
          <a:xfrm>
            <a:off x="9253129" y="5540131"/>
            <a:ext cx="2226141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200"/>
              <a:t>For all translated Managing COVID-19 content, </a:t>
            </a:r>
            <a:r>
              <a:rPr lang="en-AU" sz="1200" b="1">
                <a:hlinkClick r:id="rId2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endParaRPr lang="en-AU" sz="1200" b="1"/>
          </a:p>
        </p:txBody>
      </p:sp>
    </p:spTree>
    <p:extLst>
      <p:ext uri="{BB962C8B-B14F-4D97-AF65-F5344CB8AC3E}">
        <p14:creationId xmlns:p14="http://schemas.microsoft.com/office/powerpoint/2010/main" val="3541776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75806-F3FD-4DB2-81F7-A53027FE49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4103999"/>
            <a:ext cx="10242886" cy="1269189"/>
          </a:xfrm>
        </p:spPr>
        <p:txBody>
          <a:bodyPr>
            <a:noAutofit/>
          </a:bodyPr>
          <a:lstStyle/>
          <a:p>
            <a:r>
              <a:rPr lang="en-US">
                <a:latin typeface="Public Sans (NSW)"/>
              </a:rPr>
              <a:t>COVID-19 testing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0C0B0E-9BA1-403B-A0EB-E60E84B856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3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2488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F02C994-74FD-4FD1-BE2D-C2D3995E5FF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576" y="1449388"/>
            <a:ext cx="8396530" cy="469114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0999EF4-6ABA-4F99-BD02-E1098B3C06A0}"/>
              </a:ext>
            </a:extLst>
          </p:cNvPr>
          <p:cNvSpPr/>
          <p:nvPr/>
        </p:nvSpPr>
        <p:spPr>
          <a:xfrm>
            <a:off x="9188369" y="5103470"/>
            <a:ext cx="2411392" cy="704127"/>
          </a:xfrm>
          <a:prstGeom prst="rect">
            <a:avLst/>
          </a:prstGeom>
          <a:solidFill>
            <a:srgbClr val="CBEDFD"/>
          </a:solidFill>
          <a:ln>
            <a:solidFill>
              <a:srgbClr val="CBE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9B4793-1757-43B6-B5F1-8801C6B66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39736"/>
            <a:ext cx="9720000" cy="1009652"/>
          </a:xfrm>
        </p:spPr>
        <p:txBody>
          <a:bodyPr>
            <a:normAutofit/>
          </a:bodyPr>
          <a:lstStyle/>
          <a:p>
            <a:r>
              <a:rPr lang="en-US" sz="3200">
                <a:latin typeface="Public Sans"/>
              </a:rPr>
              <a:t>Rapid antigen testing: videos </a:t>
            </a:r>
            <a:endParaRPr lang="en-AU" sz="3200">
              <a:latin typeface="Public San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C2242B-F41E-4A5D-92F9-3F687E783BFC}"/>
              </a:ext>
            </a:extLst>
          </p:cNvPr>
          <p:cNvSpPr txBox="1"/>
          <p:nvPr/>
        </p:nvSpPr>
        <p:spPr>
          <a:xfrm>
            <a:off x="9053747" y="1449388"/>
            <a:ext cx="2550878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 b="1">
                <a:latin typeface="+mj-lt"/>
              </a:rPr>
              <a:t>Live YouTube links to share</a:t>
            </a:r>
            <a:r>
              <a:rPr lang="en-US" sz="1200">
                <a:latin typeface="+mj-lt"/>
              </a:rPr>
              <a:t>: </a:t>
            </a:r>
          </a:p>
          <a:p>
            <a:r>
              <a:rPr lang="en-US" sz="1200"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abic</a:t>
            </a:r>
            <a:r>
              <a:rPr lang="en-US" sz="1200">
                <a:latin typeface="+mj-lt"/>
              </a:rPr>
              <a:t>, </a:t>
            </a:r>
            <a:r>
              <a:rPr lang="en-AU" sz="1200" u="sng">
                <a:effectLst/>
                <a:latin typeface="+mj-lt"/>
                <a:ea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ssyrian</a:t>
            </a:r>
            <a:r>
              <a:rPr lang="en-AU" sz="1200">
                <a:effectLst/>
                <a:latin typeface="+mj-lt"/>
                <a:ea typeface="Calibri" panose="020F0502020204030204" pitchFamily="34" charset="0"/>
              </a:rPr>
              <a:t>,</a:t>
            </a:r>
            <a:r>
              <a:rPr lang="en-AU" sz="1200">
                <a:latin typeface="+mj-lt"/>
                <a:ea typeface="Calibri" panose="020F0502020204030204" pitchFamily="34" charset="0"/>
              </a:rPr>
              <a:t> </a:t>
            </a:r>
            <a:r>
              <a:rPr lang="en-US" sz="1200">
                <a:latin typeface="+mj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ngla</a:t>
            </a:r>
            <a:r>
              <a:rPr lang="en-US" sz="1200">
                <a:latin typeface="+mj-lt"/>
              </a:rPr>
              <a:t>, </a:t>
            </a:r>
            <a:r>
              <a:rPr lang="en-US" sz="1200">
                <a:latin typeface="+mj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ntonese</a:t>
            </a:r>
            <a:r>
              <a:rPr lang="en-US" sz="1200">
                <a:latin typeface="+mj-lt"/>
              </a:rPr>
              <a:t>, </a:t>
            </a:r>
            <a:r>
              <a:rPr lang="en-US" sz="1200">
                <a:latin typeface="+mj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ri</a:t>
            </a:r>
            <a:r>
              <a:rPr lang="en-US" sz="1200">
                <a:latin typeface="+mj-lt"/>
              </a:rPr>
              <a:t>, </a:t>
            </a:r>
            <a:r>
              <a:rPr lang="en-US" sz="1200">
                <a:latin typeface="+mj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glish</a:t>
            </a:r>
            <a:r>
              <a:rPr lang="en-US" sz="1200">
                <a:latin typeface="+mj-lt"/>
              </a:rPr>
              <a:t>, </a:t>
            </a:r>
            <a:r>
              <a:rPr lang="en-US" sz="1200">
                <a:latin typeface="+mj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lipino</a:t>
            </a:r>
            <a:r>
              <a:rPr lang="en-US" sz="1200">
                <a:latin typeface="+mj-lt"/>
              </a:rPr>
              <a:t>, </a:t>
            </a:r>
            <a:r>
              <a:rPr lang="en-US" sz="1200">
                <a:latin typeface="+mj-l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reek</a:t>
            </a:r>
            <a:r>
              <a:rPr lang="en-US" sz="1200">
                <a:latin typeface="+mj-lt"/>
              </a:rPr>
              <a:t>, </a:t>
            </a:r>
            <a:r>
              <a:rPr lang="en-US" sz="1200">
                <a:latin typeface="+mj-lt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ndi</a:t>
            </a:r>
            <a:r>
              <a:rPr lang="en-US" sz="1200">
                <a:latin typeface="+mj-lt"/>
              </a:rPr>
              <a:t>, </a:t>
            </a:r>
            <a:r>
              <a:rPr lang="en-US" sz="1200" b="1">
                <a:latin typeface="+mj-lt"/>
                <a:hlinkClick r:id="rId12"/>
              </a:rPr>
              <a:t>Hungarian</a:t>
            </a:r>
            <a:r>
              <a:rPr lang="en-US" sz="1200">
                <a:latin typeface="+mj-lt"/>
              </a:rPr>
              <a:t>,</a:t>
            </a:r>
            <a:r>
              <a:rPr lang="en-AU" sz="1200">
                <a:effectLst/>
                <a:latin typeface="+mj-lt"/>
                <a:ea typeface="Calibri" panose="020F0502020204030204" pitchFamily="34" charset="0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Japanese</a:t>
            </a:r>
            <a:r>
              <a:rPr lang="en-AU" sz="1200">
                <a:effectLst/>
                <a:latin typeface="+mj-lt"/>
                <a:ea typeface="Calibri" panose="020F0502020204030204" pitchFamily="34" charset="0"/>
              </a:rPr>
              <a:t>,</a:t>
            </a:r>
            <a:r>
              <a:rPr lang="en-US" sz="1200">
                <a:latin typeface="+mj-lt"/>
              </a:rPr>
              <a:t> </a:t>
            </a:r>
            <a:r>
              <a:rPr lang="en-US" sz="1200">
                <a:latin typeface="+mj-lt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rean</a:t>
            </a:r>
            <a:r>
              <a:rPr lang="en-US" sz="1200">
                <a:latin typeface="+mj-lt"/>
              </a:rPr>
              <a:t>, </a:t>
            </a:r>
            <a:r>
              <a:rPr lang="en-US" sz="1200">
                <a:latin typeface="+mj-lt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o</a:t>
            </a:r>
            <a:r>
              <a:rPr lang="en-US" sz="1200">
                <a:latin typeface="+mj-lt"/>
              </a:rPr>
              <a:t>, </a:t>
            </a:r>
            <a:r>
              <a:rPr lang="en-AU" sz="1200" u="sng">
                <a:effectLst/>
                <a:latin typeface="+mj-lt"/>
                <a:ea typeface="Calibri" panose="020F050202020403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edonian</a:t>
            </a:r>
            <a:r>
              <a:rPr lang="en-AU" sz="1200">
                <a:effectLst/>
                <a:latin typeface="+mj-lt"/>
                <a:ea typeface="Calibri" panose="020F0502020204030204" pitchFamily="34" charset="0"/>
              </a:rPr>
              <a:t>,</a:t>
            </a:r>
            <a:r>
              <a:rPr lang="en-US" sz="1200">
                <a:latin typeface="+mj-lt"/>
              </a:rPr>
              <a:t> </a:t>
            </a:r>
            <a:r>
              <a:rPr lang="en-US" sz="1200">
                <a:latin typeface="+mj-lt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ndarin</a:t>
            </a:r>
            <a:r>
              <a:rPr lang="en-US" sz="1200">
                <a:latin typeface="+mj-lt"/>
              </a:rPr>
              <a:t>,</a:t>
            </a:r>
            <a:r>
              <a:rPr lang="en-AU" sz="1200">
                <a:latin typeface="+mj-lt"/>
                <a:ea typeface="Calibri" panose="020F0502020204030204" pitchFamily="34" charset="0"/>
              </a:rPr>
              <a:t> </a:t>
            </a:r>
            <a:r>
              <a:rPr lang="en-AU" sz="1200" u="sng">
                <a:latin typeface="+mj-lt"/>
                <a:ea typeface="Calibri" panose="020F0502020204030204" pitchFamily="34" charset="0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rtuguese</a:t>
            </a:r>
            <a:r>
              <a:rPr lang="en-AU" sz="1200">
                <a:latin typeface="+mj-lt"/>
                <a:ea typeface="Calibri" panose="020F0502020204030204" pitchFamily="34" charset="0"/>
              </a:rPr>
              <a:t>, </a:t>
            </a:r>
            <a:r>
              <a:rPr lang="en-US" sz="1200">
                <a:latin typeface="+mj-lt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nhalese</a:t>
            </a:r>
            <a:r>
              <a:rPr lang="en-US" sz="1200">
                <a:latin typeface="+mj-lt"/>
              </a:rPr>
              <a:t>, </a:t>
            </a:r>
            <a:r>
              <a:rPr lang="en-US" sz="1200">
                <a:latin typeface="+mj-lt"/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anish</a:t>
            </a:r>
            <a:r>
              <a:rPr lang="en-US" sz="1200">
                <a:latin typeface="+mj-lt"/>
              </a:rPr>
              <a:t>, </a:t>
            </a:r>
            <a:r>
              <a:rPr lang="en-US" sz="1200">
                <a:latin typeface="+mj-lt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mil</a:t>
            </a:r>
            <a:r>
              <a:rPr lang="en-US" sz="1200">
                <a:latin typeface="+mj-lt"/>
              </a:rPr>
              <a:t>, </a:t>
            </a:r>
            <a:r>
              <a:rPr lang="en-US" sz="1200">
                <a:latin typeface="+mj-lt"/>
                <a:hlinkClick r:id="rId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etnamese</a:t>
            </a:r>
            <a:endParaRPr lang="en-US" sz="1200">
              <a:latin typeface="+mj-lt"/>
            </a:endParaRPr>
          </a:p>
          <a:p>
            <a:endParaRPr lang="en-AU" sz="12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2D6C4E-B91F-40EE-A371-D55A544AE4CE}"/>
              </a:ext>
            </a:extLst>
          </p:cNvPr>
          <p:cNvSpPr txBox="1"/>
          <p:nvPr/>
        </p:nvSpPr>
        <p:spPr>
          <a:xfrm>
            <a:off x="9280201" y="5235456"/>
            <a:ext cx="2226141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200"/>
              <a:t>For all translated COVID-19 testing content, </a:t>
            </a:r>
            <a:r>
              <a:rPr lang="en-AU" sz="1200" b="1">
                <a:hlinkClick r:id="rId2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endParaRPr lang="en-AU" sz="12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6BA49C-45A8-46D7-812E-BDE2A4CABF92}"/>
              </a:ext>
            </a:extLst>
          </p:cNvPr>
          <p:cNvSpPr txBox="1"/>
          <p:nvPr/>
        </p:nvSpPr>
        <p:spPr>
          <a:xfrm>
            <a:off x="587374" y="983168"/>
            <a:ext cx="98645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latin typeface="+mj-lt"/>
              </a:rPr>
              <a:t>Note: The languages in </a:t>
            </a:r>
            <a:r>
              <a:rPr lang="en-US" sz="1200" b="1">
                <a:latin typeface="+mj-lt"/>
              </a:rPr>
              <a:t>bold</a:t>
            </a:r>
            <a:r>
              <a:rPr lang="en-US" sz="1200">
                <a:latin typeface="+mj-lt"/>
              </a:rPr>
              <a:t> have been added since the last update</a:t>
            </a:r>
            <a:endParaRPr lang="en-AU" sz="12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DB71A0-F132-4C1C-A243-07560812DDFF}"/>
              </a:ext>
            </a:extLst>
          </p:cNvPr>
          <p:cNvSpPr txBox="1"/>
          <p:nvPr/>
        </p:nvSpPr>
        <p:spPr>
          <a:xfrm>
            <a:off x="9120793" y="3159923"/>
            <a:ext cx="2662333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fontAlgn="base"/>
            <a:r>
              <a:rPr lang="en-AU" sz="1200" b="1" i="0">
                <a:solidFill>
                  <a:srgbClr val="000000"/>
                </a:solidFill>
                <a:effectLst/>
                <a:latin typeface="+mj-lt"/>
              </a:rPr>
              <a:t>Post copy:​</a:t>
            </a:r>
          </a:p>
          <a:p>
            <a:r>
              <a:rPr lang="en-US" sz="1200">
                <a:ea typeface="+mn-lt"/>
                <a:cs typeface="+mn-lt"/>
              </a:rPr>
              <a:t>Rapid antigen tests are quick and easy to use. Watch this video to learn how to use a test safely at home. Remember, if your test result is positive, you must register the result straight away online with Service NSW. </a:t>
            </a:r>
            <a:endParaRPr lang="en-US"/>
          </a:p>
          <a:p>
            <a:endParaRPr lang="en-US" sz="1200">
              <a:solidFill>
                <a:srgbClr val="242424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9483685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440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05D047-23EF-4BE7-BB2D-19F08CF7B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39736"/>
            <a:ext cx="9720000" cy="1009652"/>
          </a:xfrm>
        </p:spPr>
        <p:txBody>
          <a:bodyPr>
            <a:normAutofit/>
          </a:bodyPr>
          <a:lstStyle/>
          <a:p>
            <a:r>
              <a:rPr lang="en-US" sz="3200"/>
              <a:t>Purpose of this toolkit </a:t>
            </a:r>
            <a:endParaRPr lang="en-AU" sz="32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B48451-883E-426F-887E-1C1C6F214AD9}"/>
              </a:ext>
            </a:extLst>
          </p:cNvPr>
          <p:cNvSpPr txBox="1"/>
          <p:nvPr/>
        </p:nvSpPr>
        <p:spPr>
          <a:xfrm>
            <a:off x="587375" y="1160463"/>
            <a:ext cx="10873838" cy="332398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>
                <a:latin typeface="Public Sans (NSW)"/>
              </a:rPr>
              <a:t>T</a:t>
            </a:r>
            <a:r>
              <a:rPr lang="en-US" sz="1400" b="0" i="0">
                <a:effectLst/>
                <a:latin typeface="Public Sans (NSW)"/>
              </a:rPr>
              <a:t>his toolkit </a:t>
            </a:r>
            <a:r>
              <a:rPr lang="en-US" sz="1400">
                <a:latin typeface="Public Sans (NSW)"/>
              </a:rPr>
              <a:t>contains the latest links and assets</a:t>
            </a:r>
            <a:r>
              <a:rPr lang="en-US" sz="1400" b="0" i="0">
                <a:effectLst/>
                <a:latin typeface="Public Sans (NSW)"/>
              </a:rPr>
              <a:t> to </a:t>
            </a:r>
            <a:r>
              <a:rPr lang="en-US" sz="1400">
                <a:latin typeface="Public Sans (NSW)"/>
              </a:rPr>
              <a:t>help you</a:t>
            </a:r>
            <a:r>
              <a:rPr lang="en-US" sz="1400" b="0" i="0">
                <a:effectLst/>
                <a:latin typeface="Public Sans (NSW)"/>
              </a:rPr>
              <a:t> communicate with your community</a:t>
            </a:r>
            <a:r>
              <a:rPr lang="en-US" sz="1400">
                <a:latin typeface="Public Sans (NSW)"/>
              </a:rPr>
              <a:t>.</a:t>
            </a:r>
            <a:endParaRPr lang="en-US" sz="1400" b="0" i="0">
              <a:effectLst/>
              <a:latin typeface="Public Sans (NSW)"/>
            </a:endParaRPr>
          </a:p>
          <a:p>
            <a:endParaRPr lang="en-US" sz="1400">
              <a:latin typeface="Public Sans (NSW)"/>
            </a:endParaRPr>
          </a:p>
          <a:p>
            <a:r>
              <a:rPr lang="en-US" sz="1400" b="1">
                <a:latin typeface="Public Sans (NSW)"/>
              </a:rPr>
              <a:t>Topics include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>
                <a:latin typeface="Public Sans (NSW)"/>
              </a:rPr>
              <a:t>COVID-19 vaccination and boosters 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>
                <a:latin typeface="Public Sans (NSW)"/>
              </a:rPr>
              <a:t>Information for people exposed to COVID-19 and managing COVID-19 at home 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>
                <a:latin typeface="Public Sans (NSW)"/>
              </a:rPr>
              <a:t>COVID-19 testing </a:t>
            </a:r>
          </a:p>
          <a:p>
            <a:pPr marL="342900" indent="-342900">
              <a:buFont typeface="+mj-lt"/>
              <a:buAutoNum type="arabicPeriod"/>
            </a:pPr>
            <a:endParaRPr lang="en-US" sz="1400">
              <a:latin typeface="Public Sans (NSW)"/>
            </a:endParaRPr>
          </a:p>
          <a:p>
            <a:pPr algn="l"/>
            <a:r>
              <a:rPr lang="en-US" sz="1400" b="1">
                <a:latin typeface="Public Sans (NSW)"/>
              </a:rPr>
              <a:t>The latest information can be found at </a:t>
            </a:r>
            <a:r>
              <a:rPr lang="en-US" sz="1400" b="1">
                <a:latin typeface="Public Sans (NSW)"/>
                <a:hlinkClick r:id="rId2"/>
              </a:rPr>
              <a:t>nsw.gov.au</a:t>
            </a:r>
          </a:p>
          <a:p>
            <a:pPr algn="l"/>
            <a:endParaRPr lang="en-US" sz="1400" b="1">
              <a:latin typeface="Public Sans (NSW)"/>
            </a:endParaRPr>
          </a:p>
          <a:p>
            <a:pPr algn="l"/>
            <a:r>
              <a:rPr lang="en-US" sz="1400" b="1">
                <a:latin typeface="Public Sans (NSW)"/>
              </a:rPr>
              <a:t>Other important support and information</a:t>
            </a:r>
            <a:r>
              <a:rPr lang="en-US" sz="1400" b="1" i="0">
                <a:effectLst/>
                <a:latin typeface="Public Sans (NSW)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>
                <a:latin typeface="Public Sans (NSW)"/>
              </a:rPr>
              <a:t>Free translation and interpreter 24-hour helpline TIS National 131 450 </a:t>
            </a:r>
            <a:r>
              <a:rPr lang="en-US" sz="1400">
                <a:latin typeface="Public Sans (NSW)"/>
              </a:rPr>
              <a:t>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Public Sans (NSW)"/>
              </a:rPr>
              <a:t>National Coronavirus Helpline 1800 020 080 (</a:t>
            </a:r>
            <a:r>
              <a:rPr lang="en-GB" sz="1400">
                <a:ea typeface="+mn-lt"/>
                <a:cs typeface="+mn-lt"/>
              </a:rPr>
              <a:t>and choose Option 8 for the free interpreting service)</a:t>
            </a:r>
            <a:endParaRPr lang="en-GB" sz="1400">
              <a:latin typeface="Public Sans Ligh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Public Sans (NSW)"/>
                <a:ea typeface="+mn-lt"/>
                <a:cs typeface="+mn-lt"/>
              </a:rPr>
              <a:t>For people who have tested positive to COVID-19 - NSW Health COVID-19 Care at Home Support Line on 1800 960 933 </a:t>
            </a:r>
            <a:endParaRPr lang="en-US" sz="1400">
              <a:latin typeface="Public Sans (NSW)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>
                <a:latin typeface="Public Sans (NSW)"/>
              </a:rPr>
              <a:t>For households that are required to self-isolate - NSW Health Isolation Support Line on 1800 943 553 </a:t>
            </a: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AU" sz="1400">
                <a:latin typeface="Public Sans (NSW)"/>
              </a:rPr>
              <a:t>Service NSW </a:t>
            </a:r>
            <a:r>
              <a:rPr lang="en-US" sz="1400">
                <a:latin typeface="Public Sans (NSW)"/>
              </a:rPr>
              <a:t>13 77 88</a:t>
            </a:r>
          </a:p>
        </p:txBody>
      </p:sp>
    </p:spTree>
    <p:extLst>
      <p:ext uri="{BB962C8B-B14F-4D97-AF65-F5344CB8AC3E}">
        <p14:creationId xmlns:p14="http://schemas.microsoft.com/office/powerpoint/2010/main" val="1016093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75806-F3FD-4DB2-81F7-A53027FE49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4103999"/>
            <a:ext cx="10242886" cy="1269189"/>
          </a:xfrm>
        </p:spPr>
        <p:txBody>
          <a:bodyPr>
            <a:noAutofit/>
          </a:bodyPr>
          <a:lstStyle/>
          <a:p>
            <a:r>
              <a:rPr lang="en-US">
                <a:latin typeface="Public Sans (NSW)"/>
              </a:rPr>
              <a:t>COVID-19 vaccination and boosters</a:t>
            </a:r>
            <a:endParaRPr lang="en-AU">
              <a:latin typeface="Public Sans (NSW)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0C0B0E-9BA1-403B-A0EB-E60E84B856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01496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435D6B2-0CF2-4342-B97F-D050EFC4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76" y="1449389"/>
            <a:ext cx="7966446" cy="4170522"/>
          </a:xfrm>
          <a:prstGeom prst="rect">
            <a:avLst/>
          </a:prstGeom>
        </p:spPr>
      </p:pic>
      <p:sp>
        <p:nvSpPr>
          <p:cNvPr id="7" name="Title 15">
            <a:extLst>
              <a:ext uri="{FF2B5EF4-FFF2-40B4-BE49-F238E27FC236}">
                <a16:creationId xmlns:a16="http://schemas.microsoft.com/office/drawing/2014/main" id="{477D23D0-0546-4498-B86B-EC478AB0FF18}"/>
              </a:ext>
            </a:extLst>
          </p:cNvPr>
          <p:cNvSpPr txBox="1">
            <a:spLocks/>
          </p:cNvSpPr>
          <p:nvPr/>
        </p:nvSpPr>
        <p:spPr>
          <a:xfrm>
            <a:off x="587375" y="433605"/>
            <a:ext cx="9864586" cy="4240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Public Sans (NSW)"/>
              </a:rPr>
              <a:t>COVID-19 boosters for 16-17 year </a:t>
            </a:r>
            <a:r>
              <a:rPr lang="en-US" sz="3200" err="1">
                <a:latin typeface="Public Sans (NSW)"/>
              </a:rPr>
              <a:t>olds</a:t>
            </a:r>
            <a:r>
              <a:rPr lang="en-US" sz="3200">
                <a:latin typeface="Public Sans (NSW)"/>
              </a:rPr>
              <a:t>: videos </a:t>
            </a:r>
            <a:endParaRPr lang="en-AU" sz="3200">
              <a:latin typeface="Public Sans (NSW)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44A603-F65B-4C25-99B4-6A5AF2811909}"/>
              </a:ext>
            </a:extLst>
          </p:cNvPr>
          <p:cNvSpPr txBox="1"/>
          <p:nvPr/>
        </p:nvSpPr>
        <p:spPr>
          <a:xfrm>
            <a:off x="8739891" y="1479441"/>
            <a:ext cx="2448253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200" b="1">
                <a:latin typeface="+mj-lt"/>
              </a:rPr>
              <a:t>Share COVID-19 booster video for people aged 16-17 years: </a:t>
            </a:r>
          </a:p>
          <a:p>
            <a:r>
              <a:rPr lang="en-AU" sz="1200" i="0">
                <a:effectLst/>
                <a:latin typeface="+mj-lt"/>
                <a:hlinkClick r:id="rId4"/>
              </a:rPr>
              <a:t>Kurdish Kurmanji</a:t>
            </a:r>
            <a:r>
              <a:rPr lang="en-AU" sz="1200">
                <a:latin typeface="+mj-lt"/>
              </a:rPr>
              <a:t>, </a:t>
            </a:r>
            <a:r>
              <a:rPr lang="en-AU" sz="1200" b="1">
                <a:latin typeface="+mj-lt"/>
                <a:hlinkClick r:id="rId5"/>
              </a:rPr>
              <a:t>Macedonian</a:t>
            </a:r>
            <a:r>
              <a:rPr lang="en-AU" sz="1200">
                <a:latin typeface="+mj-lt"/>
              </a:rPr>
              <a:t>, </a:t>
            </a:r>
            <a:r>
              <a:rPr lang="en-AU" sz="1200" b="1">
                <a:latin typeface="+mj-lt"/>
                <a:hlinkClick r:id="rId6"/>
              </a:rPr>
              <a:t>Tamil</a:t>
            </a:r>
            <a:endParaRPr lang="en-AU" sz="1200" b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C582BFC-2A20-4ADF-9595-CA25FF714502}"/>
              </a:ext>
            </a:extLst>
          </p:cNvPr>
          <p:cNvSpPr txBox="1"/>
          <p:nvPr/>
        </p:nvSpPr>
        <p:spPr>
          <a:xfrm>
            <a:off x="8739891" y="2512995"/>
            <a:ext cx="2897369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fontAlgn="base"/>
            <a:r>
              <a:rPr lang="en-AU" sz="1200" b="1" i="0">
                <a:solidFill>
                  <a:srgbClr val="000000"/>
                </a:solidFill>
                <a:effectLst/>
                <a:latin typeface="+mj-lt"/>
              </a:rPr>
              <a:t>Post copy:​</a:t>
            </a:r>
          </a:p>
          <a:p>
            <a:r>
              <a:rPr lang="en-US" sz="1200">
                <a:ea typeface="+mn-lt"/>
                <a:cs typeface="+mn-lt"/>
              </a:rPr>
              <a:t>COVID-19 boosters are available for people aged 16 years and over and can be given 3 months after your second dose of a COVID-19 vaccine.</a:t>
            </a:r>
            <a:endParaRPr lang="en-US">
              <a:ea typeface="+mn-lt"/>
              <a:cs typeface="+mn-lt"/>
            </a:endParaRPr>
          </a:p>
          <a:p>
            <a:endParaRPr lang="en-US" sz="1200">
              <a:ea typeface="+mn-lt"/>
              <a:cs typeface="+mn-lt"/>
            </a:endParaRPr>
          </a:p>
          <a:p>
            <a:r>
              <a:rPr lang="en-US" sz="1200">
                <a:ea typeface="+mn-lt"/>
                <a:cs typeface="+mn-lt"/>
              </a:rPr>
              <a:t>A booster dose helps to strengthen your immune system and improve your long-term protection against serious illness from COVID-19. The Pfizer vaccine is the approved booster vaccine for people aged 16 – 17 years.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11D482-981C-41EC-BA6B-57388F9904D9}"/>
              </a:ext>
            </a:extLst>
          </p:cNvPr>
          <p:cNvSpPr txBox="1"/>
          <p:nvPr/>
        </p:nvSpPr>
        <p:spPr>
          <a:xfrm>
            <a:off x="587374" y="983168"/>
            <a:ext cx="98645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latin typeface="+mj-lt"/>
              </a:rPr>
              <a:t>Note: The languages in </a:t>
            </a:r>
            <a:r>
              <a:rPr lang="en-US" sz="1200" b="1">
                <a:latin typeface="+mj-lt"/>
              </a:rPr>
              <a:t>bold</a:t>
            </a:r>
            <a:r>
              <a:rPr lang="en-US" sz="1200">
                <a:latin typeface="+mj-lt"/>
              </a:rPr>
              <a:t> have been added since the last update</a:t>
            </a:r>
            <a:endParaRPr lang="en-AU" sz="1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41EE66-AE39-4EBD-A322-26533C3D8B29}"/>
              </a:ext>
            </a:extLst>
          </p:cNvPr>
          <p:cNvSpPr/>
          <p:nvPr/>
        </p:nvSpPr>
        <p:spPr>
          <a:xfrm>
            <a:off x="8828364" y="4970097"/>
            <a:ext cx="2583290" cy="750807"/>
          </a:xfrm>
          <a:prstGeom prst="rect">
            <a:avLst/>
          </a:prstGeom>
          <a:solidFill>
            <a:srgbClr val="CBEDFD"/>
          </a:solidFill>
          <a:ln>
            <a:solidFill>
              <a:srgbClr val="CBE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EB5CAC-A7A8-42ED-8DF1-8C82E3E86D71}"/>
              </a:ext>
            </a:extLst>
          </p:cNvPr>
          <p:cNvSpPr txBox="1"/>
          <p:nvPr/>
        </p:nvSpPr>
        <p:spPr>
          <a:xfrm>
            <a:off x="8913966" y="5082539"/>
            <a:ext cx="235790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200"/>
              <a:t>For all translated COVID-19 vaccination content, </a:t>
            </a:r>
            <a:r>
              <a:rPr lang="en-AU" sz="1200" b="1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endParaRPr lang="en-AU" sz="1200" b="1"/>
          </a:p>
        </p:txBody>
      </p:sp>
    </p:spTree>
    <p:extLst>
      <p:ext uri="{BB962C8B-B14F-4D97-AF65-F5344CB8AC3E}">
        <p14:creationId xmlns:p14="http://schemas.microsoft.com/office/powerpoint/2010/main" val="2132781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2222B28-47CB-464B-BCF9-75FEDC86582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75" y="1449389"/>
            <a:ext cx="7918646" cy="4226056"/>
          </a:xfrm>
          <a:prstGeom prst="rect">
            <a:avLst/>
          </a:prstGeom>
        </p:spPr>
      </p:pic>
      <p:sp>
        <p:nvSpPr>
          <p:cNvPr id="7" name="Title 15">
            <a:extLst>
              <a:ext uri="{FF2B5EF4-FFF2-40B4-BE49-F238E27FC236}">
                <a16:creationId xmlns:a16="http://schemas.microsoft.com/office/drawing/2014/main" id="{477D23D0-0546-4498-B86B-EC478AB0FF18}"/>
              </a:ext>
            </a:extLst>
          </p:cNvPr>
          <p:cNvSpPr txBox="1">
            <a:spLocks/>
          </p:cNvSpPr>
          <p:nvPr/>
        </p:nvSpPr>
        <p:spPr>
          <a:xfrm>
            <a:off x="587375" y="433605"/>
            <a:ext cx="9864586" cy="4240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Public Sans (NSW)"/>
              </a:rPr>
              <a:t>COVID-19 boosters: videos </a:t>
            </a:r>
            <a:endParaRPr lang="en-AU" sz="3200">
              <a:latin typeface="Public Sans (NSW)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44A603-F65B-4C25-99B4-6A5AF2811909}"/>
              </a:ext>
            </a:extLst>
          </p:cNvPr>
          <p:cNvSpPr txBox="1"/>
          <p:nvPr/>
        </p:nvSpPr>
        <p:spPr>
          <a:xfrm>
            <a:off x="8679205" y="1448121"/>
            <a:ext cx="2928505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 rtl="0" fontAlgn="base"/>
            <a:r>
              <a:rPr lang="en-AU" sz="1200" b="1"/>
              <a:t>S</a:t>
            </a:r>
            <a:r>
              <a:rPr lang="en-AU" sz="1200" b="1" i="0" u="none" strike="noStrike">
                <a:effectLst/>
              </a:rPr>
              <a:t>hare COVID-19 booster message video: </a:t>
            </a:r>
            <a:r>
              <a:rPr lang="en-US" sz="1200" b="0" i="0">
                <a:effectLst/>
              </a:rPr>
              <a:t>​</a:t>
            </a:r>
          </a:p>
          <a:p>
            <a:pPr fontAlgn="base"/>
            <a:r>
              <a:rPr lang="en-AU" sz="1200" i="0" u="sng" strike="noStrike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ngla</a:t>
            </a:r>
            <a:r>
              <a:rPr lang="en-AU" sz="1200" i="0" u="none" strike="noStrike">
                <a:effectLst/>
              </a:rPr>
              <a:t>, </a:t>
            </a:r>
            <a:r>
              <a:rPr lang="en-AU" sz="1200" i="0" u="sng" strike="noStrike">
                <a:effectLst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ntonese</a:t>
            </a:r>
            <a:r>
              <a:rPr lang="en-AU" sz="1200" i="0" u="none" strike="noStrike">
                <a:effectLst/>
              </a:rPr>
              <a:t>, </a:t>
            </a:r>
            <a:r>
              <a:rPr lang="en-AU" sz="1200" i="0" u="sng" strike="noStrike">
                <a:effectLst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lipino</a:t>
            </a:r>
            <a:r>
              <a:rPr lang="en-AU" sz="1200" i="0" u="none" strike="noStrike">
                <a:effectLst/>
              </a:rPr>
              <a:t>, </a:t>
            </a:r>
            <a:r>
              <a:rPr lang="en-AU" sz="1200" i="0" u="sng" strike="noStrike">
                <a:effectLst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ujarati</a:t>
            </a:r>
            <a:r>
              <a:rPr lang="en-AU" sz="1200" i="0" u="none" strike="noStrike">
                <a:effectLst/>
              </a:rPr>
              <a:t>,</a:t>
            </a:r>
            <a:br>
              <a:rPr lang="en-AU" sz="1200"/>
            </a:br>
            <a:r>
              <a:rPr lang="en-AU" sz="1200" i="0" u="sng" strike="noStrike">
                <a:effectLst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rean</a:t>
            </a:r>
            <a:r>
              <a:rPr lang="en-AU" sz="1200" i="0" strike="noStrike">
                <a:effectLst/>
              </a:rPr>
              <a:t>,</a:t>
            </a:r>
            <a:r>
              <a:rPr lang="en-AU" sz="1200" i="0" u="none" strike="noStrike">
                <a:effectLst/>
              </a:rPr>
              <a:t> </a:t>
            </a:r>
            <a:r>
              <a:rPr lang="en-US" sz="1200" i="0">
                <a:effectLst/>
              </a:rPr>
              <a:t>​</a:t>
            </a:r>
            <a:r>
              <a:rPr lang="en-AU" sz="1200" i="0" u="sng" strike="noStrike">
                <a:solidFill>
                  <a:srgbClr val="22272B"/>
                </a:solidFill>
                <a:effectLst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urdish </a:t>
            </a:r>
            <a:r>
              <a:rPr lang="en-AU" sz="1200" i="0" u="sng" strike="noStrike">
                <a:effectLst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urmanji</a:t>
            </a:r>
            <a:r>
              <a:rPr lang="en-AU" sz="1200" i="0" u="none" strike="noStrike">
                <a:effectLst/>
              </a:rPr>
              <a:t>, </a:t>
            </a:r>
          </a:p>
          <a:p>
            <a:pPr algn="l" rtl="0" fontAlgn="base"/>
            <a:r>
              <a:rPr lang="en-AU" sz="120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edonian</a:t>
            </a:r>
            <a:r>
              <a:rPr lang="en-AU" sz="1200"/>
              <a:t>, </a:t>
            </a:r>
            <a:r>
              <a:rPr lang="en-AU" sz="120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pali</a:t>
            </a:r>
            <a:r>
              <a:rPr lang="en-AU" sz="1200"/>
              <a:t>, </a:t>
            </a:r>
            <a:r>
              <a:rPr lang="en-AU" sz="1200" b="1">
                <a:hlinkClick r:id="rId12"/>
              </a:rPr>
              <a:t>Tamil</a:t>
            </a:r>
            <a:r>
              <a:rPr lang="en-AU" sz="1200"/>
              <a:t>, </a:t>
            </a:r>
            <a:r>
              <a:rPr lang="en-AU" sz="1200" i="0" u="sng" strike="noStrike">
                <a:effectLst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etnamese</a:t>
            </a:r>
            <a:endParaRPr lang="en-AU" sz="1200" i="0">
              <a:effectLst/>
            </a:endParaRPr>
          </a:p>
          <a:p>
            <a:endParaRPr lang="en-AU" sz="1200" b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48BB62-D863-4087-8186-0DA186D3A1C3}"/>
              </a:ext>
            </a:extLst>
          </p:cNvPr>
          <p:cNvSpPr/>
          <p:nvPr/>
        </p:nvSpPr>
        <p:spPr>
          <a:xfrm>
            <a:off x="8852365" y="4976602"/>
            <a:ext cx="2554354" cy="750807"/>
          </a:xfrm>
          <a:prstGeom prst="rect">
            <a:avLst/>
          </a:prstGeom>
          <a:solidFill>
            <a:srgbClr val="CBEDFD"/>
          </a:solidFill>
          <a:ln>
            <a:solidFill>
              <a:srgbClr val="CBE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98F18C-7255-45C6-B212-81B99AF92EE9}"/>
              </a:ext>
            </a:extLst>
          </p:cNvPr>
          <p:cNvSpPr txBox="1"/>
          <p:nvPr/>
        </p:nvSpPr>
        <p:spPr>
          <a:xfrm>
            <a:off x="8923612" y="5082539"/>
            <a:ext cx="2348254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200"/>
              <a:t>For all translated COVID-19 vaccination content, </a:t>
            </a:r>
            <a:r>
              <a:rPr lang="en-AU" sz="1200" b="1"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endParaRPr lang="en-AU" sz="12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7EF2F8-E16E-4F24-9898-1D634EE3E3DB}"/>
              </a:ext>
            </a:extLst>
          </p:cNvPr>
          <p:cNvSpPr txBox="1"/>
          <p:nvPr/>
        </p:nvSpPr>
        <p:spPr>
          <a:xfrm>
            <a:off x="587374" y="983168"/>
            <a:ext cx="98645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latin typeface="+mj-lt"/>
              </a:rPr>
              <a:t>Note: The languages in </a:t>
            </a:r>
            <a:r>
              <a:rPr lang="en-US" sz="1200" b="1">
                <a:latin typeface="+mj-lt"/>
              </a:rPr>
              <a:t>bold</a:t>
            </a:r>
            <a:r>
              <a:rPr lang="en-US" sz="1200">
                <a:latin typeface="+mj-lt"/>
              </a:rPr>
              <a:t> have been added since the last update</a:t>
            </a:r>
            <a:endParaRPr lang="en-AU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12B9BF-7DE0-4854-A11F-9B554B6B3921}"/>
              </a:ext>
            </a:extLst>
          </p:cNvPr>
          <p:cNvSpPr txBox="1"/>
          <p:nvPr/>
        </p:nvSpPr>
        <p:spPr>
          <a:xfrm>
            <a:off x="8756620" y="2593219"/>
            <a:ext cx="29194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AU" sz="1200" b="1" i="0">
                <a:solidFill>
                  <a:srgbClr val="000000"/>
                </a:solidFill>
                <a:effectLst/>
                <a:latin typeface="+mj-lt"/>
              </a:rPr>
              <a:t>Post copy:​</a:t>
            </a:r>
          </a:p>
          <a:p>
            <a:pPr algn="l" rtl="0" fontAlgn="base"/>
            <a:r>
              <a:rPr lang="en-US" sz="1200" b="0" i="0">
                <a:solidFill>
                  <a:srgbClr val="242424"/>
                </a:solidFill>
                <a:effectLst/>
                <a:latin typeface="+mj-lt"/>
              </a:rPr>
              <a:t>If you're 16 years or over and had your second dose of a COVID-19 vaccine more than three months ago, your booster is due now.</a:t>
            </a:r>
            <a:endParaRPr lang="en-AU" sz="1200" b="0" i="0">
              <a:solidFill>
                <a:srgbClr val="000000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743649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75806-F3FD-4DB2-81F7-A53027FE49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4103999"/>
            <a:ext cx="10242886" cy="1269189"/>
          </a:xfrm>
        </p:spPr>
        <p:txBody>
          <a:bodyPr>
            <a:noAutofit/>
          </a:bodyPr>
          <a:lstStyle/>
          <a:p>
            <a:r>
              <a:rPr lang="en-US">
                <a:latin typeface="Public Sans (NSW)"/>
              </a:rPr>
              <a:t>Information for people exposed to COVID-19 and managing COVID-19 at home 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0C0B0E-9BA1-403B-A0EB-E60E84B856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2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75431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5">
            <a:extLst>
              <a:ext uri="{FF2B5EF4-FFF2-40B4-BE49-F238E27FC236}">
                <a16:creationId xmlns:a16="http://schemas.microsoft.com/office/drawing/2014/main" id="{477D23D0-0546-4498-B86B-EC478AB0FF18}"/>
              </a:ext>
            </a:extLst>
          </p:cNvPr>
          <p:cNvSpPr txBox="1">
            <a:spLocks/>
          </p:cNvSpPr>
          <p:nvPr/>
        </p:nvSpPr>
        <p:spPr>
          <a:xfrm>
            <a:off x="587375" y="433605"/>
            <a:ext cx="9864586" cy="4240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Public Sans (NSW)"/>
              </a:rPr>
              <a:t>Information for people exposed to COVID-19: fact sheet </a:t>
            </a:r>
            <a:endParaRPr lang="en-AU" sz="3200">
              <a:latin typeface="Public Sans (NSW)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9CBF0BB-8C19-46CE-860E-8D07205FA3B2}"/>
              </a:ext>
            </a:extLst>
          </p:cNvPr>
          <p:cNvSpPr txBox="1"/>
          <p:nvPr/>
        </p:nvSpPr>
        <p:spPr>
          <a:xfrm>
            <a:off x="4106292" y="1449388"/>
            <a:ext cx="4421759" cy="1964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07000"/>
              </a:lnSpc>
              <a:spcAft>
                <a:spcPts val="800"/>
              </a:spcAft>
              <a:defRPr sz="1200" b="1">
                <a:latin typeface="Public Sans (NSW)"/>
                <a:cs typeface="Times New Roman"/>
              </a:defRPr>
            </a:lvl1pPr>
          </a:lstStyle>
          <a:p>
            <a:pPr>
              <a:spcAft>
                <a:spcPts val="0"/>
              </a:spcAft>
            </a:pPr>
            <a:r>
              <a:rPr lang="en-US">
                <a:cs typeface="Times New Roman"/>
              </a:rPr>
              <a:t>Download </a:t>
            </a:r>
            <a:r>
              <a:rPr lang="en-US"/>
              <a:t>fact sheet</a:t>
            </a:r>
            <a:r>
              <a:rPr lang="en-US" b="0">
                <a:cs typeface="Times New Roman"/>
              </a:rPr>
              <a:t>:</a:t>
            </a:r>
          </a:p>
          <a:p>
            <a:r>
              <a:rPr lang="en-GB" b="0">
                <a:hlinkClick r:id="rId3"/>
              </a:rPr>
              <a:t>Amharic</a:t>
            </a:r>
            <a:r>
              <a:rPr lang="en-GB" b="0"/>
              <a:t>, </a:t>
            </a:r>
            <a:r>
              <a:rPr lang="en-GB" b="0">
                <a:hlinkClick r:id="rId4"/>
              </a:rPr>
              <a:t>Arabic</a:t>
            </a:r>
            <a:r>
              <a:rPr lang="en-GB" b="0"/>
              <a:t>, </a:t>
            </a:r>
            <a:r>
              <a:rPr lang="en-GB" b="0">
                <a:hlinkClick r:id="rId5"/>
              </a:rPr>
              <a:t>Armenian</a:t>
            </a:r>
            <a:r>
              <a:rPr lang="en-GB" b="0"/>
              <a:t>, </a:t>
            </a:r>
            <a:r>
              <a:rPr lang="en-GB" b="0">
                <a:hlinkClick r:id="rId6"/>
              </a:rPr>
              <a:t>Assyrian</a:t>
            </a:r>
            <a:r>
              <a:rPr lang="en-GB" b="0"/>
              <a:t>, </a:t>
            </a:r>
            <a:r>
              <a:rPr lang="en-GB" b="0">
                <a:hlinkClick r:id="rId7"/>
              </a:rPr>
              <a:t>Bangla</a:t>
            </a:r>
            <a:r>
              <a:rPr lang="en-GB" b="0"/>
              <a:t>, </a:t>
            </a:r>
            <a:r>
              <a:rPr lang="en-GB" b="0">
                <a:hlinkClick r:id="rId8"/>
              </a:rPr>
              <a:t>Burmese</a:t>
            </a:r>
            <a:r>
              <a:rPr lang="en-GB" b="0"/>
              <a:t>, </a:t>
            </a:r>
            <a:r>
              <a:rPr lang="en-GB" b="0">
                <a:hlinkClick r:id="rId9"/>
              </a:rPr>
              <a:t>Chinese-Simplified</a:t>
            </a:r>
            <a:r>
              <a:rPr lang="en-GB" b="0"/>
              <a:t>, </a:t>
            </a:r>
            <a:r>
              <a:rPr lang="en-GB" b="0">
                <a:hlinkClick r:id="rId10"/>
              </a:rPr>
              <a:t>Chinese-Traditional</a:t>
            </a:r>
            <a:r>
              <a:rPr lang="en-GB" b="0"/>
              <a:t>, </a:t>
            </a:r>
            <a:r>
              <a:rPr lang="en-GB" b="0">
                <a:hlinkClick r:id="rId11"/>
              </a:rPr>
              <a:t>Dari</a:t>
            </a:r>
            <a:r>
              <a:rPr lang="en-GB" b="0"/>
              <a:t>, </a:t>
            </a:r>
            <a:r>
              <a:rPr lang="en-GB" b="0">
                <a:hlinkClick r:id="rId12"/>
              </a:rPr>
              <a:t>English</a:t>
            </a:r>
            <a:r>
              <a:rPr lang="en-GB" b="0"/>
              <a:t>, </a:t>
            </a:r>
            <a:r>
              <a:rPr lang="en-GB" b="0">
                <a:hlinkClick r:id="rId13"/>
              </a:rPr>
              <a:t>Farsi</a:t>
            </a:r>
            <a:r>
              <a:rPr lang="en-GB" b="0"/>
              <a:t>, </a:t>
            </a:r>
            <a:r>
              <a:rPr lang="en-GB" b="0">
                <a:hlinkClick r:id="rId14"/>
              </a:rPr>
              <a:t>Filipino</a:t>
            </a:r>
            <a:r>
              <a:rPr lang="en-GB" b="0"/>
              <a:t>, </a:t>
            </a:r>
            <a:r>
              <a:rPr lang="en-GB" b="0">
                <a:hlinkClick r:id="rId15"/>
              </a:rPr>
              <a:t>French</a:t>
            </a:r>
            <a:r>
              <a:rPr lang="en-GB" b="0"/>
              <a:t>, </a:t>
            </a:r>
            <a:r>
              <a:rPr lang="en-GB" b="0">
                <a:hlinkClick r:id="rId16"/>
              </a:rPr>
              <a:t>German</a:t>
            </a:r>
            <a:r>
              <a:rPr lang="en-GB" b="0"/>
              <a:t>, </a:t>
            </a:r>
            <a:r>
              <a:rPr lang="en-GB" b="0">
                <a:hlinkClick r:id="rId17"/>
              </a:rPr>
              <a:t>Greek</a:t>
            </a:r>
            <a:r>
              <a:rPr lang="en-GB" b="0"/>
              <a:t>, </a:t>
            </a:r>
            <a:r>
              <a:rPr lang="en-GB" b="0">
                <a:hlinkClick r:id="rId18"/>
              </a:rPr>
              <a:t>Gujarati</a:t>
            </a:r>
            <a:r>
              <a:rPr lang="en-GB" b="0"/>
              <a:t>, </a:t>
            </a:r>
            <a:r>
              <a:rPr lang="en-GB" b="0">
                <a:hlinkClick r:id="rId19"/>
              </a:rPr>
              <a:t>Hebrew</a:t>
            </a:r>
            <a:r>
              <a:rPr lang="en-GB" b="0"/>
              <a:t>, </a:t>
            </a:r>
            <a:r>
              <a:rPr lang="en-GB" b="0">
                <a:hlinkClick r:id="rId20"/>
              </a:rPr>
              <a:t>Hindi</a:t>
            </a:r>
            <a:r>
              <a:rPr lang="en-GB" b="0"/>
              <a:t>, </a:t>
            </a:r>
            <a:r>
              <a:rPr lang="en-GB" b="0">
                <a:hlinkClick r:id="rId21"/>
              </a:rPr>
              <a:t>Hungarian</a:t>
            </a:r>
            <a:r>
              <a:rPr lang="en-GB" b="0"/>
              <a:t>,</a:t>
            </a:r>
            <a:r>
              <a:rPr lang="en-GB" b="0">
                <a:hlinkClick r:id="rId22"/>
              </a:rPr>
              <a:t> Indonesian</a:t>
            </a:r>
            <a:r>
              <a:rPr lang="en-GB" b="0"/>
              <a:t>, </a:t>
            </a:r>
            <a:r>
              <a:rPr lang="en-GB" b="0">
                <a:hlinkClick r:id="rId23"/>
              </a:rPr>
              <a:t>Japanese</a:t>
            </a:r>
            <a:r>
              <a:rPr lang="en-GB" b="0"/>
              <a:t>, </a:t>
            </a:r>
            <a:r>
              <a:rPr lang="en-GB" b="0">
                <a:hlinkClick r:id="rId24"/>
              </a:rPr>
              <a:t>Khmer</a:t>
            </a:r>
            <a:r>
              <a:rPr lang="en-GB" b="0"/>
              <a:t>, </a:t>
            </a:r>
            <a:r>
              <a:rPr lang="en-GB" b="0">
                <a:hlinkClick r:id="rId25"/>
              </a:rPr>
              <a:t>Kirundi</a:t>
            </a:r>
            <a:r>
              <a:rPr lang="en-GB" b="0"/>
              <a:t>, </a:t>
            </a:r>
            <a:r>
              <a:rPr lang="en-GB" b="0">
                <a:hlinkClick r:id="rId26"/>
              </a:rPr>
              <a:t>Korean</a:t>
            </a:r>
            <a:r>
              <a:rPr lang="en-GB" b="0"/>
              <a:t>, </a:t>
            </a:r>
            <a:r>
              <a:rPr lang="en-GB" b="0">
                <a:hlinkClick r:id="rId27"/>
              </a:rPr>
              <a:t>Kurdish-</a:t>
            </a:r>
            <a:r>
              <a:rPr lang="en-GB" b="0" err="1">
                <a:hlinkClick r:id="rId27"/>
              </a:rPr>
              <a:t>Kurmanji</a:t>
            </a:r>
            <a:r>
              <a:rPr lang="en-GB" b="0"/>
              <a:t>, </a:t>
            </a:r>
            <a:r>
              <a:rPr lang="en-GB" b="0">
                <a:hlinkClick r:id="rId28"/>
              </a:rPr>
              <a:t>Kurdish-Sorani</a:t>
            </a:r>
            <a:r>
              <a:rPr lang="en-GB" b="0"/>
              <a:t>, </a:t>
            </a:r>
            <a:r>
              <a:rPr lang="en-GB" b="0">
                <a:hlinkClick r:id="rId29"/>
              </a:rPr>
              <a:t>Lao</a:t>
            </a:r>
            <a:r>
              <a:rPr lang="en-GB" b="0"/>
              <a:t>, </a:t>
            </a:r>
            <a:r>
              <a:rPr lang="en-GB" b="0">
                <a:hlinkClick r:id="rId30"/>
              </a:rPr>
              <a:t>Macedonian</a:t>
            </a:r>
            <a:r>
              <a:rPr lang="en-GB" b="0"/>
              <a:t>, </a:t>
            </a:r>
            <a:r>
              <a:rPr lang="en-GB" b="0">
                <a:hlinkClick r:id="rId31"/>
              </a:rPr>
              <a:t>Malayalam</a:t>
            </a:r>
            <a:r>
              <a:rPr lang="en-GB" b="0"/>
              <a:t>, </a:t>
            </a:r>
            <a:r>
              <a:rPr lang="en-GB" b="0">
                <a:hlinkClick r:id="rId32"/>
              </a:rPr>
              <a:t>Mongolian</a:t>
            </a:r>
            <a:r>
              <a:rPr lang="en-GB" b="0"/>
              <a:t>, </a:t>
            </a:r>
            <a:r>
              <a:rPr lang="en-GB" b="0">
                <a:hlinkClick r:id="rId33"/>
              </a:rPr>
              <a:t>Nepali</a:t>
            </a:r>
            <a:r>
              <a:rPr lang="en-GB" b="0"/>
              <a:t>, </a:t>
            </a:r>
            <a:r>
              <a:rPr lang="en-GB" b="0">
                <a:hlinkClick r:id="rId34"/>
              </a:rPr>
              <a:t>Polish</a:t>
            </a:r>
            <a:r>
              <a:rPr lang="en-GB" b="0"/>
              <a:t>, </a:t>
            </a:r>
            <a:r>
              <a:rPr lang="en-GB" b="0">
                <a:hlinkClick r:id="rId35"/>
              </a:rPr>
              <a:t>Portuguese</a:t>
            </a:r>
            <a:r>
              <a:rPr lang="en-GB" b="0"/>
              <a:t>, </a:t>
            </a:r>
            <a:r>
              <a:rPr lang="en-GB" b="0">
                <a:hlinkClick r:id="rId36"/>
              </a:rPr>
              <a:t>Russian</a:t>
            </a:r>
            <a:r>
              <a:rPr lang="en-GB" b="0"/>
              <a:t>, </a:t>
            </a:r>
            <a:r>
              <a:rPr lang="en-GB" b="0">
                <a:hlinkClick r:id="rId37"/>
              </a:rPr>
              <a:t>Rohingya</a:t>
            </a:r>
            <a:r>
              <a:rPr lang="en-GB" b="0"/>
              <a:t>, </a:t>
            </a:r>
            <a:r>
              <a:rPr lang="en-GB" b="0">
                <a:hlinkClick r:id="rId38"/>
              </a:rPr>
              <a:t>Serbian</a:t>
            </a:r>
            <a:r>
              <a:rPr lang="en-GB" b="0"/>
              <a:t>, </a:t>
            </a:r>
            <a:r>
              <a:rPr lang="en-GB" b="0">
                <a:hlinkClick r:id="rId39"/>
              </a:rPr>
              <a:t>Sinhalese</a:t>
            </a:r>
            <a:r>
              <a:rPr lang="en-GB" b="0"/>
              <a:t>, </a:t>
            </a:r>
            <a:r>
              <a:rPr lang="en-GB" b="0">
                <a:hlinkClick r:id="rId40"/>
              </a:rPr>
              <a:t>Somali</a:t>
            </a:r>
            <a:r>
              <a:rPr lang="en-GB" b="0"/>
              <a:t>, </a:t>
            </a:r>
            <a:r>
              <a:rPr lang="en-GB" b="0">
                <a:hlinkClick r:id="rId41"/>
              </a:rPr>
              <a:t>Spanish</a:t>
            </a:r>
            <a:r>
              <a:rPr lang="en-GB" b="0"/>
              <a:t>, </a:t>
            </a:r>
            <a:r>
              <a:rPr lang="en-GB" b="0">
                <a:hlinkClick r:id="rId42"/>
              </a:rPr>
              <a:t>Swahili</a:t>
            </a:r>
            <a:r>
              <a:rPr lang="en-GB" b="0"/>
              <a:t>, </a:t>
            </a:r>
            <a:r>
              <a:rPr lang="en-GB" b="0">
                <a:hlinkClick r:id="rId43"/>
              </a:rPr>
              <a:t>Telugu</a:t>
            </a:r>
            <a:r>
              <a:rPr lang="en-GB" b="0"/>
              <a:t>, </a:t>
            </a:r>
            <a:r>
              <a:rPr lang="en-GB" b="0">
                <a:hlinkClick r:id="rId44"/>
              </a:rPr>
              <a:t>Thai</a:t>
            </a:r>
            <a:r>
              <a:rPr lang="en-GB" b="0"/>
              <a:t>, </a:t>
            </a:r>
            <a:r>
              <a:rPr lang="en-GB" b="0">
                <a:hlinkClick r:id="rId45"/>
              </a:rPr>
              <a:t>Tibetan</a:t>
            </a:r>
            <a:r>
              <a:rPr lang="en-GB" b="0"/>
              <a:t>, </a:t>
            </a:r>
            <a:r>
              <a:rPr lang="en-GB" b="0">
                <a:hlinkClick r:id="rId46"/>
              </a:rPr>
              <a:t>Turkish</a:t>
            </a:r>
            <a:r>
              <a:rPr lang="en-GB" b="0"/>
              <a:t>, </a:t>
            </a:r>
            <a:r>
              <a:rPr lang="en-GB" b="0">
                <a:hlinkClick r:id="rId47"/>
              </a:rPr>
              <a:t>Urdu</a:t>
            </a:r>
            <a:r>
              <a:rPr lang="en-GB" b="0"/>
              <a:t>, </a:t>
            </a:r>
            <a:r>
              <a:rPr lang="en-GB" b="0">
                <a:hlinkClick r:id="rId48"/>
              </a:rPr>
              <a:t>Vietnamese</a:t>
            </a:r>
            <a:r>
              <a:rPr lang="en-GB" b="0"/>
              <a:t> </a:t>
            </a:r>
          </a:p>
          <a:p>
            <a:endParaRPr lang="en-A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F833C5-A036-4486-8F82-8825C2786163}"/>
              </a:ext>
            </a:extLst>
          </p:cNvPr>
          <p:cNvPicPr>
            <a:picLocks noChangeAspect="1"/>
          </p:cNvPicPr>
          <p:nvPr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75" y="1449388"/>
            <a:ext cx="3299168" cy="4701033"/>
          </a:xfrm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FA5B94-5E6A-4F5C-A163-711413A0F874}"/>
              </a:ext>
            </a:extLst>
          </p:cNvPr>
          <p:cNvPicPr>
            <a:picLocks noChangeAspect="1"/>
          </p:cNvPicPr>
          <p:nvPr/>
        </p:nvPicPr>
        <p:blipFill>
          <a:blip r:embed="rId5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6292" y="3482738"/>
            <a:ext cx="1881755" cy="2667683"/>
          </a:xfrm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7CA9E95-E933-47BF-965B-BDE280CA37F0}"/>
              </a:ext>
            </a:extLst>
          </p:cNvPr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9" y="3482738"/>
            <a:ext cx="1894565" cy="2667683"/>
          </a:xfrm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03D17BF-C5A8-49B8-AF69-93655E9C5222}"/>
              </a:ext>
            </a:extLst>
          </p:cNvPr>
          <p:cNvSpPr/>
          <p:nvPr/>
        </p:nvSpPr>
        <p:spPr>
          <a:xfrm>
            <a:off x="9280207" y="5331368"/>
            <a:ext cx="2411392" cy="704127"/>
          </a:xfrm>
          <a:prstGeom prst="rect">
            <a:avLst/>
          </a:prstGeom>
          <a:solidFill>
            <a:srgbClr val="CBEDFD"/>
          </a:solidFill>
          <a:ln>
            <a:solidFill>
              <a:srgbClr val="CBE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1F1BB1-C8DE-4EC6-ADF8-3DFCB15A30A7}"/>
              </a:ext>
            </a:extLst>
          </p:cNvPr>
          <p:cNvSpPr txBox="1"/>
          <p:nvPr/>
        </p:nvSpPr>
        <p:spPr>
          <a:xfrm>
            <a:off x="9371119" y="5461172"/>
            <a:ext cx="2226141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200"/>
              <a:t>For all translated Managing COVID-19 content, </a:t>
            </a:r>
            <a:r>
              <a:rPr lang="en-AU" sz="1200" b="1">
                <a:hlinkClick r:id="rId5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endParaRPr lang="en-AU" sz="1200" b="1"/>
          </a:p>
        </p:txBody>
      </p:sp>
    </p:spTree>
    <p:extLst>
      <p:ext uri="{BB962C8B-B14F-4D97-AF65-F5344CB8AC3E}">
        <p14:creationId xmlns:p14="http://schemas.microsoft.com/office/powerpoint/2010/main" val="26497945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EB03CB6-D051-49E2-A2CF-9741BE31520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6292" y="3489502"/>
            <a:ext cx="1914091" cy="2706576"/>
          </a:xfrm>
          <a:prstGeom prst="rect">
            <a:avLst/>
          </a:prstGeom>
        </p:spPr>
      </p:pic>
      <p:sp>
        <p:nvSpPr>
          <p:cNvPr id="7" name="Title 15">
            <a:extLst>
              <a:ext uri="{FF2B5EF4-FFF2-40B4-BE49-F238E27FC236}">
                <a16:creationId xmlns:a16="http://schemas.microsoft.com/office/drawing/2014/main" id="{477D23D0-0546-4498-B86B-EC478AB0FF18}"/>
              </a:ext>
            </a:extLst>
          </p:cNvPr>
          <p:cNvSpPr txBox="1">
            <a:spLocks/>
          </p:cNvSpPr>
          <p:nvPr/>
        </p:nvSpPr>
        <p:spPr>
          <a:xfrm>
            <a:off x="587375" y="433605"/>
            <a:ext cx="9864586" cy="4240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Public Sans (NSW)"/>
              </a:rPr>
              <a:t>Managing COVID-19 at home: fact sheet </a:t>
            </a:r>
            <a:endParaRPr lang="en-AU" sz="3200">
              <a:latin typeface="Public Sans (NSW)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45AEF7-7801-46D1-A6FD-FB311696AAB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75" y="1449387"/>
            <a:ext cx="3314995" cy="4701033"/>
          </a:xfrm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BCDD8D2-BD47-401C-8A34-2D658B668AF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1295" y="3486355"/>
            <a:ext cx="1914091" cy="273255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1BDAFC5-6FD7-4BB9-9B0E-9E686577EFCF}"/>
              </a:ext>
            </a:extLst>
          </p:cNvPr>
          <p:cNvSpPr/>
          <p:nvPr/>
        </p:nvSpPr>
        <p:spPr>
          <a:xfrm>
            <a:off x="9463473" y="5321722"/>
            <a:ext cx="2411392" cy="704127"/>
          </a:xfrm>
          <a:prstGeom prst="rect">
            <a:avLst/>
          </a:prstGeom>
          <a:solidFill>
            <a:srgbClr val="CBEDFD"/>
          </a:solidFill>
          <a:ln>
            <a:solidFill>
              <a:srgbClr val="CBE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8714E3-C845-4615-8F94-3F12A8A90BA7}"/>
              </a:ext>
            </a:extLst>
          </p:cNvPr>
          <p:cNvSpPr txBox="1"/>
          <p:nvPr/>
        </p:nvSpPr>
        <p:spPr>
          <a:xfrm>
            <a:off x="9554385" y="5451526"/>
            <a:ext cx="2226141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200"/>
              <a:t>For all translated Managing COVID-19 content, </a:t>
            </a:r>
            <a:r>
              <a:rPr lang="en-AU" sz="1200" b="1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endParaRPr lang="en-AU" sz="1200" b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321D63-05F4-4B1E-A6DC-216CCC3B62E0}"/>
              </a:ext>
            </a:extLst>
          </p:cNvPr>
          <p:cNvSpPr txBox="1"/>
          <p:nvPr/>
        </p:nvSpPr>
        <p:spPr>
          <a:xfrm>
            <a:off x="4106292" y="1180236"/>
            <a:ext cx="4421759" cy="20597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07000"/>
              </a:lnSpc>
              <a:spcAft>
                <a:spcPts val="800"/>
              </a:spcAft>
              <a:defRPr sz="1200" b="1">
                <a:latin typeface="Public Sans (NSW)"/>
                <a:cs typeface="Times New Roman"/>
              </a:defRPr>
            </a:lvl1pPr>
          </a:lstStyle>
          <a:p>
            <a:pPr>
              <a:spcAft>
                <a:spcPts val="0"/>
              </a:spcAft>
            </a:pPr>
            <a:r>
              <a:rPr lang="en-US">
                <a:cs typeface="Times New Roman"/>
              </a:rPr>
              <a:t>Download </a:t>
            </a:r>
            <a:r>
              <a:rPr lang="en-US"/>
              <a:t>fact sheet</a:t>
            </a:r>
            <a:r>
              <a:rPr lang="en-US" b="0">
                <a:cs typeface="Times New Roman"/>
              </a:rPr>
              <a:t>:</a:t>
            </a:r>
          </a:p>
          <a:p>
            <a:r>
              <a:rPr lang="en-GB" b="0">
                <a:hlinkClick r:id="rId7"/>
              </a:rPr>
              <a:t>Amharic</a:t>
            </a:r>
            <a:r>
              <a:rPr lang="en-GB" b="0"/>
              <a:t>, </a:t>
            </a:r>
            <a:r>
              <a:rPr lang="en-GB" b="0">
                <a:hlinkClick r:id="rId8"/>
              </a:rPr>
              <a:t>Arabic</a:t>
            </a:r>
            <a:r>
              <a:rPr lang="en-GB" b="0"/>
              <a:t>, </a:t>
            </a:r>
            <a:r>
              <a:rPr lang="en-GB" b="0">
                <a:hlinkClick r:id="rId9"/>
              </a:rPr>
              <a:t>Armenian</a:t>
            </a:r>
            <a:r>
              <a:rPr lang="en-GB" b="0"/>
              <a:t>, </a:t>
            </a:r>
            <a:r>
              <a:rPr lang="en-GB" b="0">
                <a:hlinkClick r:id="rId10"/>
              </a:rPr>
              <a:t>Assyrian</a:t>
            </a:r>
            <a:r>
              <a:rPr lang="en-GB" b="0"/>
              <a:t>, </a:t>
            </a:r>
            <a:r>
              <a:rPr lang="en-GB" b="0">
                <a:hlinkClick r:id="rId11"/>
              </a:rPr>
              <a:t>Bangla</a:t>
            </a:r>
            <a:r>
              <a:rPr lang="en-GB" b="0"/>
              <a:t>, </a:t>
            </a:r>
            <a:r>
              <a:rPr lang="en-GB" b="0">
                <a:hlinkClick r:id="rId12"/>
              </a:rPr>
              <a:t>Bosnian</a:t>
            </a:r>
            <a:r>
              <a:rPr lang="en-GB" b="0"/>
              <a:t>, </a:t>
            </a:r>
            <a:r>
              <a:rPr lang="en-GB" b="0">
                <a:hlinkClick r:id="rId13"/>
              </a:rPr>
              <a:t>Burmese</a:t>
            </a:r>
            <a:r>
              <a:rPr lang="en-GB" b="0"/>
              <a:t>, </a:t>
            </a:r>
            <a:r>
              <a:rPr lang="en-GB" b="0">
                <a:hlinkClick r:id="rId14"/>
              </a:rPr>
              <a:t>Chinese-Simplified</a:t>
            </a:r>
            <a:r>
              <a:rPr lang="en-GB" b="0"/>
              <a:t>, </a:t>
            </a:r>
            <a:r>
              <a:rPr lang="en-GB" b="0">
                <a:hlinkClick r:id="rId15"/>
              </a:rPr>
              <a:t>Chinese-Traditional</a:t>
            </a:r>
            <a:r>
              <a:rPr lang="en-GB" b="0"/>
              <a:t>, </a:t>
            </a:r>
            <a:r>
              <a:rPr lang="en-GB" b="0">
                <a:hlinkClick r:id="rId16"/>
              </a:rPr>
              <a:t>Croatian</a:t>
            </a:r>
            <a:r>
              <a:rPr lang="en-GB" b="0"/>
              <a:t>, </a:t>
            </a:r>
            <a:r>
              <a:rPr lang="en-GB" b="0">
                <a:hlinkClick r:id="rId17"/>
              </a:rPr>
              <a:t>Dari</a:t>
            </a:r>
            <a:r>
              <a:rPr lang="en-GB" b="0"/>
              <a:t>, </a:t>
            </a:r>
            <a:r>
              <a:rPr lang="en-GB" b="0">
                <a:hlinkClick r:id="rId18"/>
              </a:rPr>
              <a:t>Farsi</a:t>
            </a:r>
            <a:r>
              <a:rPr lang="en-GB" b="0"/>
              <a:t>, </a:t>
            </a:r>
            <a:r>
              <a:rPr lang="en-GB" b="0">
                <a:hlinkClick r:id="rId19"/>
              </a:rPr>
              <a:t>Fijian</a:t>
            </a:r>
            <a:r>
              <a:rPr lang="en-GB" b="0"/>
              <a:t>, </a:t>
            </a:r>
            <a:r>
              <a:rPr lang="en-GB" b="0">
                <a:hlinkClick r:id="rId20"/>
              </a:rPr>
              <a:t>Filipino</a:t>
            </a:r>
            <a:r>
              <a:rPr lang="en-GB" b="0"/>
              <a:t>, </a:t>
            </a:r>
            <a:r>
              <a:rPr lang="en-GB" b="0">
                <a:hlinkClick r:id="rId21"/>
              </a:rPr>
              <a:t>French</a:t>
            </a:r>
            <a:r>
              <a:rPr lang="en-GB" b="0"/>
              <a:t>, </a:t>
            </a:r>
            <a:r>
              <a:rPr lang="en-GB" b="0">
                <a:hlinkClick r:id="rId22"/>
              </a:rPr>
              <a:t>German</a:t>
            </a:r>
            <a:r>
              <a:rPr lang="en-GB" b="0"/>
              <a:t>, </a:t>
            </a:r>
            <a:r>
              <a:rPr lang="en-GB" b="0">
                <a:hlinkClick r:id="rId23"/>
              </a:rPr>
              <a:t>Greek</a:t>
            </a:r>
            <a:r>
              <a:rPr lang="en-GB" b="0"/>
              <a:t>, </a:t>
            </a:r>
            <a:r>
              <a:rPr lang="en-GB" b="0">
                <a:hlinkClick r:id="rId24"/>
              </a:rPr>
              <a:t>Gujarati</a:t>
            </a:r>
            <a:r>
              <a:rPr lang="en-GB" b="0"/>
              <a:t>, </a:t>
            </a:r>
            <a:r>
              <a:rPr lang="en-GB" b="0">
                <a:hlinkClick r:id="rId25"/>
              </a:rPr>
              <a:t>Hazaragi</a:t>
            </a:r>
            <a:r>
              <a:rPr lang="en-GB" b="0"/>
              <a:t>, </a:t>
            </a:r>
            <a:r>
              <a:rPr lang="en-GB" b="0">
                <a:hlinkClick r:id="rId26"/>
              </a:rPr>
              <a:t>Hebrew</a:t>
            </a:r>
            <a:r>
              <a:rPr lang="en-GB" b="0"/>
              <a:t>, </a:t>
            </a:r>
            <a:r>
              <a:rPr lang="en-GB" b="0">
                <a:hlinkClick r:id="rId27"/>
              </a:rPr>
              <a:t>Hindi</a:t>
            </a:r>
            <a:r>
              <a:rPr lang="en-GB" b="0"/>
              <a:t>, </a:t>
            </a:r>
            <a:r>
              <a:rPr lang="en-GB" b="0">
                <a:hlinkClick r:id="rId28"/>
              </a:rPr>
              <a:t>Hungarian</a:t>
            </a:r>
            <a:r>
              <a:rPr lang="en-GB" b="0"/>
              <a:t>, </a:t>
            </a:r>
            <a:r>
              <a:rPr lang="en-GB" b="0">
                <a:hlinkClick r:id="rId29"/>
              </a:rPr>
              <a:t>Indonesian</a:t>
            </a:r>
            <a:r>
              <a:rPr lang="en-GB" b="0"/>
              <a:t>, </a:t>
            </a:r>
            <a:r>
              <a:rPr lang="en-GB" b="0">
                <a:hlinkClick r:id="rId30"/>
              </a:rPr>
              <a:t>Italian</a:t>
            </a:r>
            <a:r>
              <a:rPr lang="en-GB" b="0"/>
              <a:t>, </a:t>
            </a:r>
            <a:r>
              <a:rPr lang="en-GB" b="0">
                <a:hlinkClick r:id="rId31"/>
              </a:rPr>
              <a:t>Japanese</a:t>
            </a:r>
            <a:r>
              <a:rPr lang="en-GB" b="0"/>
              <a:t>, </a:t>
            </a:r>
            <a:r>
              <a:rPr lang="en-GB" b="0">
                <a:hlinkClick r:id="rId32"/>
              </a:rPr>
              <a:t>Khmer</a:t>
            </a:r>
            <a:r>
              <a:rPr lang="en-GB" b="0"/>
              <a:t>, </a:t>
            </a:r>
            <a:r>
              <a:rPr lang="en-AU" b="0">
                <a:hlinkClick r:id="rId33"/>
              </a:rPr>
              <a:t>Kinyarwanda</a:t>
            </a:r>
            <a:r>
              <a:rPr lang="en-AU" b="0"/>
              <a:t>, </a:t>
            </a:r>
            <a:r>
              <a:rPr lang="en-GB" b="0">
                <a:hlinkClick r:id="rId34"/>
              </a:rPr>
              <a:t>Kirundi</a:t>
            </a:r>
            <a:r>
              <a:rPr lang="en-GB" b="0"/>
              <a:t>, </a:t>
            </a:r>
            <a:r>
              <a:rPr lang="en-GB" b="0">
                <a:hlinkClick r:id="rId35"/>
              </a:rPr>
              <a:t>Korean</a:t>
            </a:r>
            <a:r>
              <a:rPr lang="en-GB" b="0"/>
              <a:t>, </a:t>
            </a:r>
            <a:r>
              <a:rPr lang="en-AU" b="0">
                <a:hlinkClick r:id="rId36"/>
              </a:rPr>
              <a:t>Kurdish-Kurmanji</a:t>
            </a:r>
            <a:r>
              <a:rPr lang="en-AU" b="0"/>
              <a:t>, </a:t>
            </a:r>
            <a:r>
              <a:rPr lang="en-AU" b="0">
                <a:hlinkClick r:id="rId37"/>
              </a:rPr>
              <a:t>Kurdish-Sorani</a:t>
            </a:r>
            <a:r>
              <a:rPr lang="en-AU" b="0"/>
              <a:t>, </a:t>
            </a:r>
            <a:r>
              <a:rPr lang="en-GB" b="0">
                <a:hlinkClick r:id="rId38"/>
              </a:rPr>
              <a:t>Lao</a:t>
            </a:r>
            <a:r>
              <a:rPr lang="en-GB" b="0"/>
              <a:t>, </a:t>
            </a:r>
            <a:r>
              <a:rPr lang="en-GB" b="0">
                <a:hlinkClick r:id="rId39"/>
              </a:rPr>
              <a:t>Macedonian</a:t>
            </a:r>
            <a:r>
              <a:rPr lang="en-GB" b="0"/>
              <a:t>, </a:t>
            </a:r>
            <a:r>
              <a:rPr lang="en-GB" b="0">
                <a:hlinkClick r:id="rId40"/>
              </a:rPr>
              <a:t>Malayalam</a:t>
            </a:r>
            <a:r>
              <a:rPr lang="en-GB" b="0"/>
              <a:t>, </a:t>
            </a:r>
            <a:r>
              <a:rPr lang="en-GB" b="0">
                <a:hlinkClick r:id="rId41"/>
              </a:rPr>
              <a:t>Maltese</a:t>
            </a:r>
            <a:r>
              <a:rPr lang="en-GB" b="0"/>
              <a:t>, </a:t>
            </a:r>
            <a:r>
              <a:rPr lang="en-GB" b="0">
                <a:hlinkClick r:id="rId42"/>
              </a:rPr>
              <a:t>Mongolian</a:t>
            </a:r>
            <a:r>
              <a:rPr lang="en-GB" b="0"/>
              <a:t>, </a:t>
            </a:r>
            <a:r>
              <a:rPr lang="en-GB" b="0">
                <a:hlinkClick r:id="rId43"/>
              </a:rPr>
              <a:t>Nepali</a:t>
            </a:r>
            <a:r>
              <a:rPr lang="en-GB" b="0"/>
              <a:t>, </a:t>
            </a:r>
            <a:r>
              <a:rPr lang="en-GB" b="0">
                <a:hlinkClick r:id="rId44"/>
              </a:rPr>
              <a:t>Pashto</a:t>
            </a:r>
            <a:r>
              <a:rPr lang="en-GB" b="0"/>
              <a:t>, </a:t>
            </a:r>
            <a:r>
              <a:rPr lang="en-GB" b="0">
                <a:hlinkClick r:id="rId45"/>
              </a:rPr>
              <a:t>Polish</a:t>
            </a:r>
            <a:r>
              <a:rPr lang="en-GB" b="0"/>
              <a:t>, </a:t>
            </a:r>
            <a:r>
              <a:rPr lang="en-AU" b="0">
                <a:hlinkClick r:id="rId46"/>
              </a:rPr>
              <a:t>Portuguese</a:t>
            </a:r>
            <a:r>
              <a:rPr lang="en-AU" b="0"/>
              <a:t>, </a:t>
            </a:r>
            <a:r>
              <a:rPr lang="en-GB" b="0">
                <a:hlinkClick r:id="rId47"/>
              </a:rPr>
              <a:t>Punjabi</a:t>
            </a:r>
            <a:r>
              <a:rPr lang="en-GB" b="0"/>
              <a:t>, </a:t>
            </a:r>
            <a:r>
              <a:rPr lang="en-GB" b="0">
                <a:hlinkClick r:id="rId48"/>
              </a:rPr>
              <a:t>Rohingya</a:t>
            </a:r>
            <a:r>
              <a:rPr lang="en-GB" b="0"/>
              <a:t>, </a:t>
            </a:r>
            <a:r>
              <a:rPr lang="en-GB" b="0">
                <a:hlinkClick r:id="rId49"/>
              </a:rPr>
              <a:t>Russian</a:t>
            </a:r>
            <a:r>
              <a:rPr lang="en-GB" b="0"/>
              <a:t>, </a:t>
            </a:r>
            <a:r>
              <a:rPr lang="en-GB" b="0">
                <a:hlinkClick r:id="rId50"/>
              </a:rPr>
              <a:t>Samoan</a:t>
            </a:r>
            <a:r>
              <a:rPr lang="en-GB" b="0"/>
              <a:t>, </a:t>
            </a:r>
            <a:r>
              <a:rPr lang="en-GB" b="0">
                <a:hlinkClick r:id="rId51"/>
              </a:rPr>
              <a:t>Serbian</a:t>
            </a:r>
            <a:r>
              <a:rPr lang="en-GB" b="0"/>
              <a:t>, </a:t>
            </a:r>
            <a:r>
              <a:rPr lang="en-AU" b="0">
                <a:hlinkClick r:id="rId52"/>
              </a:rPr>
              <a:t>Sinhalese</a:t>
            </a:r>
            <a:r>
              <a:rPr lang="en-AU" b="0"/>
              <a:t>, </a:t>
            </a:r>
            <a:r>
              <a:rPr lang="en-GB" b="0">
                <a:hlinkClick r:id="rId53"/>
              </a:rPr>
              <a:t>Somali</a:t>
            </a:r>
            <a:r>
              <a:rPr lang="en-GB" b="0"/>
              <a:t>, </a:t>
            </a:r>
            <a:r>
              <a:rPr lang="en-GB" b="0">
                <a:hlinkClick r:id="rId54"/>
              </a:rPr>
              <a:t>Spanish</a:t>
            </a:r>
            <a:r>
              <a:rPr lang="en-GB" b="0"/>
              <a:t>, </a:t>
            </a:r>
            <a:r>
              <a:rPr lang="en-AU" b="0">
                <a:hlinkClick r:id="rId55"/>
              </a:rPr>
              <a:t>Swahili</a:t>
            </a:r>
            <a:r>
              <a:rPr lang="en-AU" b="0"/>
              <a:t>, </a:t>
            </a:r>
            <a:r>
              <a:rPr lang="en-GB" b="0">
                <a:hlinkClick r:id="rId56"/>
              </a:rPr>
              <a:t>Tamil</a:t>
            </a:r>
            <a:r>
              <a:rPr lang="en-GB" b="0"/>
              <a:t>, </a:t>
            </a:r>
            <a:r>
              <a:rPr lang="en-GB" b="0">
                <a:hlinkClick r:id="rId57"/>
              </a:rPr>
              <a:t>Telugu</a:t>
            </a:r>
            <a:r>
              <a:rPr lang="en-GB" b="0"/>
              <a:t>, </a:t>
            </a:r>
            <a:r>
              <a:rPr lang="en-GB" b="0">
                <a:hlinkClick r:id="rId58"/>
              </a:rPr>
              <a:t>Thai</a:t>
            </a:r>
            <a:r>
              <a:rPr lang="en-GB" b="0"/>
              <a:t>, </a:t>
            </a:r>
            <a:r>
              <a:rPr lang="en-GB" b="0">
                <a:hlinkClick r:id="rId59"/>
              </a:rPr>
              <a:t>Tibetan</a:t>
            </a:r>
            <a:r>
              <a:rPr lang="en-GB" b="0"/>
              <a:t>, </a:t>
            </a:r>
            <a:r>
              <a:rPr lang="en-GB" b="0">
                <a:hlinkClick r:id="rId60"/>
              </a:rPr>
              <a:t>Tongan</a:t>
            </a:r>
            <a:r>
              <a:rPr lang="en-GB" b="0"/>
              <a:t>, </a:t>
            </a:r>
            <a:r>
              <a:rPr lang="en-GB" b="0">
                <a:hlinkClick r:id="rId61"/>
              </a:rPr>
              <a:t>Turkish</a:t>
            </a:r>
            <a:r>
              <a:rPr lang="en-GB" b="0"/>
              <a:t>, </a:t>
            </a:r>
            <a:r>
              <a:rPr lang="en-GB" b="0">
                <a:hlinkClick r:id="rId62"/>
              </a:rPr>
              <a:t>Urdu</a:t>
            </a:r>
            <a:r>
              <a:rPr lang="en-GB" b="0"/>
              <a:t>, </a:t>
            </a:r>
            <a:r>
              <a:rPr lang="en-GB" b="0">
                <a:hlinkClick r:id="rId63"/>
              </a:rPr>
              <a:t>Vietnamese</a:t>
            </a:r>
            <a:endParaRPr lang="en-GB" b="0"/>
          </a:p>
        </p:txBody>
      </p:sp>
    </p:spTree>
    <p:extLst>
      <p:ext uri="{BB962C8B-B14F-4D97-AF65-F5344CB8AC3E}">
        <p14:creationId xmlns:p14="http://schemas.microsoft.com/office/powerpoint/2010/main" val="13286288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306497B-C1D8-4F2E-B734-5BF4BFC294D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76" y="1449388"/>
            <a:ext cx="8249760" cy="4362937"/>
          </a:xfrm>
          <a:prstGeom prst="rect">
            <a:avLst/>
          </a:prstGeom>
        </p:spPr>
      </p:pic>
      <p:sp>
        <p:nvSpPr>
          <p:cNvPr id="7" name="Title 15">
            <a:extLst>
              <a:ext uri="{FF2B5EF4-FFF2-40B4-BE49-F238E27FC236}">
                <a16:creationId xmlns:a16="http://schemas.microsoft.com/office/drawing/2014/main" id="{477D23D0-0546-4498-B86B-EC478AB0FF18}"/>
              </a:ext>
            </a:extLst>
          </p:cNvPr>
          <p:cNvSpPr txBox="1">
            <a:spLocks/>
          </p:cNvSpPr>
          <p:nvPr/>
        </p:nvSpPr>
        <p:spPr>
          <a:xfrm>
            <a:off x="587375" y="433605"/>
            <a:ext cx="9864586" cy="4240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/>
              <a:t>Managing COVID-19 at home: videos</a:t>
            </a:r>
            <a:endParaRPr lang="en-AU" sz="32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6F6885-DFE4-4519-B33C-7ECCC05041E1}"/>
              </a:ext>
            </a:extLst>
          </p:cNvPr>
          <p:cNvSpPr txBox="1"/>
          <p:nvPr/>
        </p:nvSpPr>
        <p:spPr>
          <a:xfrm>
            <a:off x="8896349" y="1449388"/>
            <a:ext cx="2708275" cy="24929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 b="1" i="0" u="none" strike="noStrike">
                <a:solidFill>
                  <a:srgbClr val="22272B"/>
                </a:solidFill>
                <a:effectLst/>
                <a:latin typeface="+mj-lt"/>
              </a:rPr>
              <a:t>Share Managing COVID-19 at home</a:t>
            </a:r>
            <a:r>
              <a:rPr lang="en-US" sz="1200" b="1">
                <a:solidFill>
                  <a:srgbClr val="22272B"/>
                </a:solidFill>
                <a:latin typeface="+mj-lt"/>
              </a:rPr>
              <a:t>  </a:t>
            </a:r>
            <a:r>
              <a:rPr lang="en-US" sz="1200" b="1" i="0" u="none" strike="noStrike">
                <a:solidFill>
                  <a:srgbClr val="22272B"/>
                </a:solidFill>
                <a:effectLst/>
                <a:latin typeface="+mj-lt"/>
              </a:rPr>
              <a:t>video</a:t>
            </a:r>
            <a:r>
              <a:rPr lang="en-US" sz="1200" b="0" i="0" u="none" strike="noStrike">
                <a:solidFill>
                  <a:srgbClr val="22272B"/>
                </a:solidFill>
                <a:effectLst/>
                <a:latin typeface="+mj-lt"/>
              </a:rPr>
              <a:t>:</a:t>
            </a:r>
            <a:r>
              <a:rPr lang="en-US" sz="1200" b="1" i="0" u="none" strike="noStrike">
                <a:solidFill>
                  <a:srgbClr val="22272B"/>
                </a:solidFill>
                <a:effectLst/>
                <a:latin typeface="+mj-lt"/>
              </a:rPr>
              <a:t> </a:t>
            </a:r>
          </a:p>
          <a:p>
            <a:r>
              <a:rPr lang="en-US" sz="1200" i="0" u="sng" strike="noStrike">
                <a:solidFill>
                  <a:srgbClr val="22272B"/>
                </a:solidFill>
                <a:effectLst/>
                <a:latin typeface="+mj-lt"/>
                <a:hlinkClick r:id="rId4"/>
              </a:rPr>
              <a:t>Bangla</a:t>
            </a:r>
            <a:r>
              <a:rPr lang="en-US" sz="1200" i="0" u="none" strike="noStrike">
                <a:solidFill>
                  <a:srgbClr val="22272B"/>
                </a:solidFill>
                <a:effectLst/>
                <a:latin typeface="+mj-lt"/>
              </a:rPr>
              <a:t>, </a:t>
            </a:r>
            <a:r>
              <a:rPr lang="en-US" sz="1200" i="0" u="sng" strike="noStrike">
                <a:solidFill>
                  <a:srgbClr val="22272B"/>
                </a:solidFill>
                <a:effectLst/>
                <a:latin typeface="+mj-lt"/>
                <a:hlinkClick r:id="rId5"/>
              </a:rPr>
              <a:t>Filipino</a:t>
            </a:r>
            <a:r>
              <a:rPr lang="en-US" sz="1200" i="0" u="none" strike="noStrike">
                <a:solidFill>
                  <a:srgbClr val="22272B"/>
                </a:solidFill>
                <a:effectLst/>
                <a:latin typeface="+mj-lt"/>
              </a:rPr>
              <a:t>, </a:t>
            </a:r>
            <a:br>
              <a:rPr lang="en-US" sz="1200">
                <a:solidFill>
                  <a:srgbClr val="22272B"/>
                </a:solidFill>
                <a:latin typeface="+mj-lt"/>
              </a:rPr>
            </a:br>
            <a:r>
              <a:rPr lang="en-US" sz="1200" i="0" u="sng" strike="noStrike">
                <a:solidFill>
                  <a:srgbClr val="22272B"/>
                </a:solidFill>
                <a:effectLst/>
                <a:latin typeface="+mj-lt"/>
                <a:hlinkClick r:id="rId6"/>
              </a:rPr>
              <a:t>Gujarati</a:t>
            </a:r>
            <a:r>
              <a:rPr lang="en-US" sz="1200" i="0" u="none" strike="noStrike">
                <a:solidFill>
                  <a:srgbClr val="22272B"/>
                </a:solidFill>
                <a:effectLst/>
                <a:latin typeface="+mj-lt"/>
              </a:rPr>
              <a:t>, </a:t>
            </a:r>
            <a:r>
              <a:rPr lang="en-US" sz="1200" i="0" u="sng" strike="noStrike">
                <a:solidFill>
                  <a:srgbClr val="22272B"/>
                </a:solidFill>
                <a:effectLst/>
                <a:latin typeface="+mj-lt"/>
                <a:hlinkClick r:id="rId7"/>
              </a:rPr>
              <a:t>Korean</a:t>
            </a:r>
            <a:r>
              <a:rPr lang="en-US" sz="1200" i="0" u="none" strike="noStrike">
                <a:solidFill>
                  <a:srgbClr val="22272B"/>
                </a:solidFill>
                <a:effectLst/>
                <a:latin typeface="+mj-lt"/>
              </a:rPr>
              <a:t>, </a:t>
            </a:r>
            <a:r>
              <a:rPr lang="en-AU" sz="1200" u="sng">
                <a:solidFill>
                  <a:srgbClr val="22272B"/>
                </a:solidFill>
                <a:latin typeface="+mj-lt"/>
                <a:hlinkClick r:id="rId8"/>
              </a:rPr>
              <a:t>Kurdish</a:t>
            </a:r>
            <a:r>
              <a:rPr lang="en-AU" sz="1200" u="sng">
                <a:solidFill>
                  <a:srgbClr val="22272B"/>
                </a:solidFill>
                <a:latin typeface="+mj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AU" sz="1200" u="sng" err="1">
                <a:solidFill>
                  <a:srgbClr val="22272B"/>
                </a:solidFill>
                <a:latin typeface="+mj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urmanji</a:t>
            </a:r>
            <a:r>
              <a:rPr lang="en-AU" sz="1200" i="0" u="none" strike="noStrike">
                <a:solidFill>
                  <a:srgbClr val="22272B"/>
                </a:solidFill>
                <a:effectLst/>
                <a:latin typeface="+mj-lt"/>
              </a:rPr>
              <a:t>, </a:t>
            </a:r>
            <a:r>
              <a:rPr lang="en-US" sz="1200">
                <a:latin typeface="+mj-lt"/>
                <a:hlinkClick r:id="rId9"/>
              </a:rPr>
              <a:t>Macedonian</a:t>
            </a:r>
            <a:r>
              <a:rPr lang="en-US" sz="1200">
                <a:latin typeface="+mj-lt"/>
              </a:rPr>
              <a:t>, </a:t>
            </a:r>
            <a:r>
              <a:rPr lang="en-AU" sz="1200" u="sng">
                <a:solidFill>
                  <a:srgbClr val="0563C1"/>
                </a:solidFill>
                <a:effectLst/>
                <a:latin typeface="+mj-lt"/>
                <a:ea typeface="Calibri" panose="020F0502020204030204" pitchFamily="34" charset="0"/>
                <a:hlinkClick r:id="rId10"/>
              </a:rPr>
              <a:t>Nepali</a:t>
            </a:r>
            <a:r>
              <a:rPr lang="en-AU" sz="1200">
                <a:effectLst/>
                <a:latin typeface="+mj-lt"/>
                <a:ea typeface="Calibri" panose="020F0502020204030204" pitchFamily="34" charset="0"/>
              </a:rPr>
              <a:t>, </a:t>
            </a:r>
            <a:r>
              <a:rPr lang="en-AU" sz="1200" b="1">
                <a:effectLst/>
                <a:latin typeface="+mj-lt"/>
                <a:ea typeface="Calibri" panose="020F0502020204030204" pitchFamily="34" charset="0"/>
                <a:hlinkClick r:id="rId11"/>
              </a:rPr>
              <a:t>Tamil</a:t>
            </a:r>
            <a:r>
              <a:rPr lang="en-AU" sz="1200">
                <a:effectLst/>
                <a:latin typeface="+mj-lt"/>
                <a:ea typeface="Calibri" panose="020F0502020204030204" pitchFamily="34" charset="0"/>
              </a:rPr>
              <a:t>, </a:t>
            </a:r>
            <a:r>
              <a:rPr lang="en-AU" sz="1200" i="0" u="sng" strike="noStrike">
                <a:solidFill>
                  <a:srgbClr val="22272B"/>
                </a:solidFill>
                <a:effectLst/>
                <a:latin typeface="+mj-lt"/>
                <a:hlinkClick r:id="rId12"/>
              </a:rPr>
              <a:t>Vietnamese</a:t>
            </a:r>
            <a:r>
              <a:rPr lang="en-AU" sz="1200" i="0" u="none" strike="noStrike">
                <a:solidFill>
                  <a:srgbClr val="22272B"/>
                </a:solidFill>
                <a:effectLst/>
                <a:latin typeface="+mj-lt"/>
              </a:rPr>
              <a:t> </a:t>
            </a:r>
            <a:endParaRPr lang="en-US" sz="1200">
              <a:latin typeface="+mj-lt"/>
            </a:endParaRPr>
          </a:p>
          <a:p>
            <a:endParaRPr lang="en-AU" sz="1200">
              <a:ea typeface="+mn-lt"/>
              <a:cs typeface="+mn-lt"/>
            </a:endParaRPr>
          </a:p>
          <a:p>
            <a:pPr algn="l"/>
            <a:r>
              <a:rPr lang="en-US" sz="1200" b="1" i="0">
                <a:solidFill>
                  <a:srgbClr val="242424"/>
                </a:solidFill>
                <a:effectLst/>
                <a:latin typeface="+mj-lt"/>
              </a:rPr>
              <a:t>Post copy: </a:t>
            </a:r>
            <a:r>
              <a:rPr lang="en-US" sz="1200" b="0" i="0">
                <a:solidFill>
                  <a:srgbClr val="242424"/>
                </a:solidFill>
                <a:effectLst/>
                <a:latin typeface="+mj-lt"/>
              </a:rPr>
              <a:t>Most people with COVID-19 can recover safely at home. Know what severe symptoms to look out for so you know when to seek help.</a:t>
            </a:r>
          </a:p>
          <a:p>
            <a:endParaRPr lang="en-US" sz="1200"/>
          </a:p>
          <a:p>
            <a:endParaRPr lang="en-US" sz="12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0A7D1D-8B87-4EC4-B23E-CE71A542EDAC}"/>
              </a:ext>
            </a:extLst>
          </p:cNvPr>
          <p:cNvSpPr/>
          <p:nvPr/>
        </p:nvSpPr>
        <p:spPr>
          <a:xfrm>
            <a:off x="9058359" y="5080583"/>
            <a:ext cx="2411392" cy="704127"/>
          </a:xfrm>
          <a:prstGeom prst="rect">
            <a:avLst/>
          </a:prstGeom>
          <a:solidFill>
            <a:srgbClr val="CBEDFD"/>
          </a:solidFill>
          <a:ln>
            <a:solidFill>
              <a:srgbClr val="CBE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2F2D04-20BD-4AA8-AB14-E4C062BCF693}"/>
              </a:ext>
            </a:extLst>
          </p:cNvPr>
          <p:cNvSpPr txBox="1"/>
          <p:nvPr/>
        </p:nvSpPr>
        <p:spPr>
          <a:xfrm>
            <a:off x="9149271" y="5210387"/>
            <a:ext cx="2226141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200"/>
              <a:t>For all translated Managing COVID-19 content, </a:t>
            </a:r>
            <a:r>
              <a:rPr lang="en-AU" sz="1200" b="1"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endParaRPr lang="en-AU" sz="12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F52018-C183-48C7-8D5E-41D773D165C4}"/>
              </a:ext>
            </a:extLst>
          </p:cNvPr>
          <p:cNvSpPr txBox="1"/>
          <p:nvPr/>
        </p:nvSpPr>
        <p:spPr>
          <a:xfrm>
            <a:off x="587374" y="983168"/>
            <a:ext cx="98645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latin typeface="+mj-lt"/>
              </a:rPr>
              <a:t>Note: The languages in </a:t>
            </a:r>
            <a:r>
              <a:rPr lang="en-US" sz="1200" b="1">
                <a:latin typeface="+mj-lt"/>
              </a:rPr>
              <a:t>bold</a:t>
            </a:r>
            <a:r>
              <a:rPr lang="en-US" sz="1200">
                <a:latin typeface="+mj-lt"/>
              </a:rPr>
              <a:t> have been added since the last update</a:t>
            </a:r>
            <a:endParaRPr lang="en-AU" sz="1200"/>
          </a:p>
        </p:txBody>
      </p:sp>
    </p:spTree>
    <p:extLst>
      <p:ext uri="{BB962C8B-B14F-4D97-AF65-F5344CB8AC3E}">
        <p14:creationId xmlns:p14="http://schemas.microsoft.com/office/powerpoint/2010/main" val="40333276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NSWG Corporate">
  <a:themeElements>
    <a:clrScheme name="NSWG Corporate">
      <a:dk1>
        <a:srgbClr val="22272B"/>
      </a:dk1>
      <a:lt1>
        <a:srgbClr val="FFFFFF"/>
      </a:lt1>
      <a:dk2>
        <a:srgbClr val="D7153A"/>
      </a:dk2>
      <a:lt2>
        <a:srgbClr val="002664"/>
      </a:lt2>
      <a:accent1>
        <a:srgbClr val="002664"/>
      </a:accent1>
      <a:accent2>
        <a:srgbClr val="CBEDFD"/>
      </a:accent2>
      <a:accent3>
        <a:srgbClr val="146CFD"/>
      </a:accent3>
      <a:accent4>
        <a:srgbClr val="8CE0FF"/>
      </a:accent4>
      <a:accent5>
        <a:srgbClr val="495054"/>
      </a:accent5>
      <a:accent6>
        <a:srgbClr val="FFB8C1"/>
      </a:accent6>
      <a:hlink>
        <a:srgbClr val="22272B"/>
      </a:hlink>
      <a:folHlink>
        <a:srgbClr val="22272B"/>
      </a:folHlink>
    </a:clrScheme>
    <a:fontScheme name="NSW Government">
      <a:majorFont>
        <a:latin typeface="Public Sans"/>
        <a:ea typeface=""/>
        <a:cs typeface=""/>
      </a:majorFont>
      <a:minorFont>
        <a:latin typeface="Public San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SWGov_B1_PPT_Corporate_v3" id="{394730F3-E2CB-4F7F-9864-878478E3344D}" vid="{CABB42E2-2283-4F4E-86BD-C2DC53207390}"/>
    </a:ext>
  </a:extLst>
</a:theme>
</file>

<file path=ppt/theme/theme2.xml><?xml version="1.0" encoding="utf-8"?>
<a:theme xmlns:a="http://schemas.openxmlformats.org/drawingml/2006/main" name="1_NSWGOV">
  <a:themeElements>
    <a:clrScheme name="Custom 2">
      <a:dk1>
        <a:sysClr val="windowText" lastClr="000000"/>
      </a:dk1>
      <a:lt1>
        <a:sysClr val="window" lastClr="FFFFFF"/>
      </a:lt1>
      <a:dk2>
        <a:srgbClr val="4F4F4F"/>
      </a:dk2>
      <a:lt2>
        <a:srgbClr val="E7E6E6"/>
      </a:lt2>
      <a:accent1>
        <a:srgbClr val="D7153A"/>
      </a:accent1>
      <a:accent2>
        <a:srgbClr val="002664"/>
      </a:accent2>
      <a:accent3>
        <a:srgbClr val="0A7CB9"/>
      </a:accent3>
      <a:accent4>
        <a:srgbClr val="84BDDC"/>
      </a:accent4>
      <a:accent5>
        <a:srgbClr val="00ABE6"/>
      </a:accent5>
      <a:accent6>
        <a:srgbClr val="4F4F4F"/>
      </a:accent6>
      <a:hlink>
        <a:srgbClr val="000000"/>
      </a:hlink>
      <a:folHlink>
        <a:srgbClr val="000000"/>
      </a:folHlink>
    </a:clrScheme>
    <a:fontScheme name="NSW Governm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spcAft>
            <a:spcPts val="800"/>
          </a:spcAft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SWGOV" id="{39228580-6E44-4C36-BBAF-82D4EAC402AF}" vid="{59F38EE4-06E4-49D6-8AFB-A7713B8ED5F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6180218-c09a-4d1a-a624-572025e13eea">
      <UserInfo>
        <DisplayName>Lauren Smith</DisplayName>
        <AccountId>42</AccountId>
        <AccountType/>
      </UserInfo>
      <UserInfo>
        <DisplayName>Kelly Evans</DisplayName>
        <AccountId>79</AccountId>
        <AccountType/>
      </UserInfo>
      <UserInfo>
        <DisplayName>Caroline Leeming</DisplayName>
        <AccountId>102</AccountId>
        <AccountType/>
      </UserInfo>
      <UserInfo>
        <DisplayName>Jodie Wrigley</DisplayName>
        <AccountId>13</AccountId>
        <AccountType/>
      </UserInfo>
      <UserInfo>
        <DisplayName>Chloe Woodgate</DisplayName>
        <AccountId>22</AccountId>
        <AccountType/>
      </UserInfo>
      <UserInfo>
        <DisplayName>Natasha Dervisevic</DisplayName>
        <AccountId>34</AccountId>
        <AccountType/>
      </UserInfo>
      <UserInfo>
        <DisplayName>Rebeccah Churchward</DisplayName>
        <AccountId>25</AccountId>
        <AccountType/>
      </UserInfo>
      <UserInfo>
        <DisplayName>Catherine Shine (Ministry of Health)</DisplayName>
        <AccountId>64</AccountId>
        <AccountType/>
      </UserInfo>
      <UserInfo>
        <DisplayName>Vanessa Clarke</DisplayName>
        <AccountId>41</AccountId>
        <AccountType/>
      </UserInfo>
      <UserInfo>
        <DisplayName>Selina Liu</DisplayName>
        <AccountId>77</AccountId>
        <AccountType/>
      </UserInfo>
      <UserInfo>
        <DisplayName>Isobel Scouler</DisplayName>
        <AccountId>16</AccountId>
        <AccountType/>
      </UserInfo>
      <UserInfo>
        <DisplayName>Mayanne LaFontaine</DisplayName>
        <AccountId>19</AccountId>
        <AccountType/>
      </UserInfo>
      <UserInfo>
        <DisplayName>James Lotherington</DisplayName>
        <AccountId>309</AccountId>
        <AccountType/>
      </UserInfo>
      <UserInfo>
        <DisplayName>Hannah Damkar</DisplayName>
        <AccountId>251</AccountId>
        <AccountType/>
      </UserInfo>
      <UserInfo>
        <DisplayName>Kate Meagher</DisplayName>
        <AccountId>329</AccountId>
        <AccountType/>
      </UserInfo>
      <UserInfo>
        <DisplayName>Claire Hargreave</DisplayName>
        <AccountId>169</AccountId>
        <AccountType/>
      </UserInfo>
      <UserInfo>
        <DisplayName>Kirstie McClean</DisplayName>
        <AccountId>316</AccountId>
        <AccountType/>
      </UserInfo>
      <UserInfo>
        <DisplayName>William Murphy</DisplayName>
        <AccountId>315</AccountId>
        <AccountType/>
      </UserInfo>
      <UserInfo>
        <DisplayName>Kara Lawrence</DisplayName>
        <AccountId>17</AccountId>
        <AccountType/>
      </UserInfo>
      <UserInfo>
        <DisplayName>Cynthia Hui</DisplayName>
        <AccountId>214</AccountId>
        <AccountType/>
      </UserInfo>
      <UserInfo>
        <DisplayName>Susan Wild</DisplayName>
        <AccountId>10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EC2438E56B004D8B896325AC6BB2C5" ma:contentTypeVersion="6" ma:contentTypeDescription="Create a new document." ma:contentTypeScope="" ma:versionID="b8af0090c41121bc7633d4752614c1c3">
  <xsd:schema xmlns:xsd="http://www.w3.org/2001/XMLSchema" xmlns:xs="http://www.w3.org/2001/XMLSchema" xmlns:p="http://schemas.microsoft.com/office/2006/metadata/properties" xmlns:ns2="9a6b6c0d-206b-4e23-af4a-ec99f5df391f" xmlns:ns3="56180218-c09a-4d1a-a624-572025e13eea" targetNamespace="http://schemas.microsoft.com/office/2006/metadata/properties" ma:root="true" ma:fieldsID="849d587c8a4b41d725662eed980fab77" ns2:_="" ns3:_="">
    <xsd:import namespace="9a6b6c0d-206b-4e23-af4a-ec99f5df391f"/>
    <xsd:import namespace="56180218-c09a-4d1a-a624-572025e13e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6b6c0d-206b-4e23-af4a-ec99f5df391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180218-c09a-4d1a-a624-572025e13ee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60109C-8902-4CA5-9F0A-5BEB05033C11}">
  <ds:schemaRefs>
    <ds:schemaRef ds:uri="56180218-c09a-4d1a-a624-572025e13eea"/>
    <ds:schemaRef ds:uri="9a6b6c0d-206b-4e23-af4a-ec99f5df391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99E49ED-1897-4DA1-8DC9-4194E8F41E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C1FD7F-22F8-4337-ACF4-F7C6B4CD3EC6}">
  <ds:schemaRefs>
    <ds:schemaRef ds:uri="56180218-c09a-4d1a-a624-572025e13eea"/>
    <ds:schemaRef ds:uri="9a6b6c0d-206b-4e23-af4a-ec99f5df391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SWGov_PowerPoint_Corporate</Template>
  <TotalTime>0</TotalTime>
  <Words>1050</Words>
  <Application>Microsoft Office PowerPoint</Application>
  <PresentationFormat>Widescreen</PresentationFormat>
  <Paragraphs>86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Arial</vt:lpstr>
      <vt:lpstr>Arial Black</vt:lpstr>
      <vt:lpstr>Calibri</vt:lpstr>
      <vt:lpstr>Calibri Light</vt:lpstr>
      <vt:lpstr>Public Sans</vt:lpstr>
      <vt:lpstr>Public Sans (NSW)</vt:lpstr>
      <vt:lpstr>Public Sans ExtraLight</vt:lpstr>
      <vt:lpstr>Public Sans Light</vt:lpstr>
      <vt:lpstr>Public Sans SemiBold</vt:lpstr>
      <vt:lpstr>Times New Roman</vt:lpstr>
      <vt:lpstr>NSWG Corporate</vt:lpstr>
      <vt:lpstr>1_NSWGOV</vt:lpstr>
      <vt:lpstr>Diapositive think-cell</vt:lpstr>
      <vt:lpstr>PowerPoint Presentation</vt:lpstr>
      <vt:lpstr>Purpose of this toolkit </vt:lpstr>
      <vt:lpstr>COVID-19 vaccination and boosters</vt:lpstr>
      <vt:lpstr>PowerPoint Presentation</vt:lpstr>
      <vt:lpstr>PowerPoint Presentation</vt:lpstr>
      <vt:lpstr>Information for people exposed to COVID-19 and managing COVID-19 at home 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VID-19 testing </vt:lpstr>
      <vt:lpstr>Rapid antigen testing: videos 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ID-19 communications</dc:title>
  <dc:creator>Sarah D'Arcy</dc:creator>
  <cp:lastModifiedBy>Sarah D'Arcy</cp:lastModifiedBy>
  <cp:revision>2</cp:revision>
  <dcterms:created xsi:type="dcterms:W3CDTF">2021-12-02T06:13:49Z</dcterms:created>
  <dcterms:modified xsi:type="dcterms:W3CDTF">2022-03-21T00:4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EC2438E56B004D8B896325AC6BB2C5</vt:lpwstr>
  </property>
</Properties>
</file>